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5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6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7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8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9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1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12.xml" ContentType="application/vnd.openxmlformats-officedocument.theme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14.xml" ContentType="application/vnd.openxmlformats-officedocument.theme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7" r:id="rId4"/>
    <p:sldMasterId id="2147483787" r:id="rId5"/>
    <p:sldMasterId id="2147483838" r:id="rId6"/>
    <p:sldMasterId id="2147483865" r:id="rId7"/>
    <p:sldMasterId id="2147483878" r:id="rId8"/>
    <p:sldMasterId id="2147483900" r:id="rId9"/>
    <p:sldMasterId id="2147483934" r:id="rId10"/>
    <p:sldMasterId id="2147483969" r:id="rId11"/>
    <p:sldMasterId id="2147484007" r:id="rId12"/>
    <p:sldMasterId id="2147484038" r:id="rId13"/>
    <p:sldMasterId id="2147484047" r:id="rId14"/>
    <p:sldMasterId id="2147484071" r:id="rId15"/>
    <p:sldMasterId id="2147484095" r:id="rId16"/>
    <p:sldMasterId id="2147484103" r:id="rId17"/>
    <p:sldMasterId id="2147484121" r:id="rId18"/>
  </p:sldMasterIdLst>
  <p:notesMasterIdLst>
    <p:notesMasterId r:id="rId45"/>
  </p:notesMasterIdLst>
  <p:handoutMasterIdLst>
    <p:handoutMasterId r:id="rId46"/>
  </p:handoutMasterIdLst>
  <p:sldIdLst>
    <p:sldId id="8858" r:id="rId19"/>
    <p:sldId id="8874" r:id="rId20"/>
    <p:sldId id="8875" r:id="rId21"/>
    <p:sldId id="8876" r:id="rId22"/>
    <p:sldId id="8877" r:id="rId23"/>
    <p:sldId id="8878" r:id="rId24"/>
    <p:sldId id="8885" r:id="rId25"/>
    <p:sldId id="8879" r:id="rId26"/>
    <p:sldId id="8880" r:id="rId27"/>
    <p:sldId id="8886" r:id="rId28"/>
    <p:sldId id="576" r:id="rId29"/>
    <p:sldId id="577" r:id="rId30"/>
    <p:sldId id="8895" r:id="rId31"/>
    <p:sldId id="567" r:id="rId32"/>
    <p:sldId id="572" r:id="rId33"/>
    <p:sldId id="578" r:id="rId34"/>
    <p:sldId id="8887" r:id="rId35"/>
    <p:sldId id="8889" r:id="rId36"/>
    <p:sldId id="8871" r:id="rId37"/>
    <p:sldId id="8872" r:id="rId38"/>
    <p:sldId id="570" r:id="rId39"/>
    <p:sldId id="321" r:id="rId40"/>
    <p:sldId id="8883" r:id="rId41"/>
    <p:sldId id="322" r:id="rId42"/>
    <p:sldId id="8888" r:id="rId43"/>
    <p:sldId id="8884" r:id="rId44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175" userDrawn="1">
          <p15:clr>
            <a:srgbClr val="000000"/>
          </p15:clr>
        </p15:guide>
        <p15:guide id="3" pos="2313" userDrawn="1">
          <p15:clr>
            <a:srgbClr val="A4A3A4"/>
          </p15:clr>
        </p15:guide>
        <p15:guide id="4" orient="horz" pos="3072" userDrawn="1">
          <p15:clr>
            <a:srgbClr val="9FCC3B"/>
          </p15:clr>
        </p15:guide>
        <p15:guide id="5" orient="horz" pos="1847" userDrawn="1">
          <p15:clr>
            <a:srgbClr val="5ACBF0"/>
          </p15:clr>
        </p15:guide>
        <p15:guide id="6" orient="horz" pos="1529" userDrawn="1">
          <p15:clr>
            <a:srgbClr val="5ACBF0"/>
          </p15:clr>
        </p15:guide>
        <p15:guide id="7" pos="2880" userDrawn="1">
          <p15:clr>
            <a:srgbClr val="A4A3A4"/>
          </p15:clr>
        </p15:guide>
        <p15:guide id="8" orient="horz" pos="282" userDrawn="1">
          <p15:clr>
            <a:srgbClr val="FBAE40"/>
          </p15:clr>
        </p15:guide>
        <p15:guide id="10" orient="horz" pos="872" userDrawn="1">
          <p15:clr>
            <a:srgbClr val="C35EA4"/>
          </p15:clr>
        </p15:guide>
        <p15:guide id="11" pos="2472" userDrawn="1">
          <p15:clr>
            <a:srgbClr val="9FCC3B"/>
          </p15:clr>
        </p15:guide>
        <p15:guide id="12" pos="1134" userDrawn="1">
          <p15:clr>
            <a:srgbClr val="A4A3A4"/>
          </p15:clr>
        </p15:guide>
        <p15:guide id="13" pos="5465" userDrawn="1">
          <p15:clr>
            <a:srgbClr val="A4A3A4"/>
          </p15:clr>
        </p15:guide>
        <p15:guide id="14" orient="horz" pos="849" userDrawn="1">
          <p15:clr>
            <a:srgbClr val="9FCC3B"/>
          </p15:clr>
        </p15:guide>
        <p15:guide id="16" pos="295" userDrawn="1">
          <p15:clr>
            <a:srgbClr val="A4A3A4"/>
          </p15:clr>
        </p15:guide>
        <p15:guide id="17" pos="2971" userDrawn="1">
          <p15:clr>
            <a:srgbClr val="A4A3A4"/>
          </p15:clr>
        </p15:guide>
        <p15:guide id="18" orient="horz" pos="1166" userDrawn="1">
          <p15:clr>
            <a:srgbClr val="9FCC3B"/>
          </p15:clr>
        </p15:guide>
        <p15:guide id="20" orient="horz" pos="531" userDrawn="1">
          <p15:clr>
            <a:srgbClr val="C35EA4"/>
          </p15:clr>
        </p15:guide>
        <p15:guide id="21" orient="horz" pos="804" userDrawn="1">
          <p15:clr>
            <a:srgbClr val="A4A3A4"/>
          </p15:clr>
        </p15:guide>
        <p15:guide id="22" orient="horz" pos="32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Uusimäki Heidi" initials="UH" lastIdx="1" clrIdx="6">
    <p:extLst>
      <p:ext uri="{19B8F6BF-5375-455C-9EA6-DF929625EA0E}">
        <p15:presenceInfo xmlns:p15="http://schemas.microsoft.com/office/powerpoint/2012/main" userId="S::heidi.uusimaki@aalto.fi::a6056e74-c6a1-4a8d-bde3-bfff351dd35b" providerId="AD"/>
      </p:ext>
    </p:extLst>
  </p:cmAuthor>
  <p:cmAuthor id="1" name="Lehtinen Eeva" initials="LE" lastIdx="52" clrIdx="0"/>
  <p:cmAuthor id="8" name="Laukko Heli" initials="LH" lastIdx="4" clrIdx="7">
    <p:extLst>
      <p:ext uri="{19B8F6BF-5375-455C-9EA6-DF929625EA0E}">
        <p15:presenceInfo xmlns:p15="http://schemas.microsoft.com/office/powerpoint/2012/main" userId="S::heli.laukko@aalto.fi::e95eca06-b0ce-4a07-9a5b-38bb30890664" providerId="AD"/>
      </p:ext>
    </p:extLst>
  </p:cmAuthor>
  <p:cmAuthor id="2" name="Niemelä Ilkka" initials="NI" lastIdx="18" clrIdx="1">
    <p:extLst>
      <p:ext uri="{19B8F6BF-5375-455C-9EA6-DF929625EA0E}">
        <p15:presenceInfo xmlns:p15="http://schemas.microsoft.com/office/powerpoint/2012/main" userId="S::ilkka.niemela@aalto.fi::6d34a88e-cbc4-4e11-bd84-6c889600f159" providerId="AD"/>
      </p:ext>
    </p:extLst>
  </p:cmAuthor>
  <p:cmAuthor id="9" name="Mari Lindgren" initials="ML" lastIdx="1" clrIdx="8">
    <p:extLst>
      <p:ext uri="{19B8F6BF-5375-455C-9EA6-DF929625EA0E}">
        <p15:presenceInfo xmlns:p15="http://schemas.microsoft.com/office/powerpoint/2012/main" userId="S::Mari.Lindgren@unigrafia.fi::eb383405-5945-4f0d-a924-1f2c40cd689c" providerId="AD"/>
      </p:ext>
    </p:extLst>
  </p:cmAuthor>
  <p:cmAuthor id="3" name="Salavuo Jaakko" initials="SJ" lastIdx="29" clrIdx="2">
    <p:extLst>
      <p:ext uri="{19B8F6BF-5375-455C-9EA6-DF929625EA0E}">
        <p15:presenceInfo xmlns:p15="http://schemas.microsoft.com/office/powerpoint/2012/main" userId="S::jaakko.salavuo@aalto.fi::15bf0814-e802-402f-8e38-048ec7cb7e72" providerId="AD"/>
      </p:ext>
    </p:extLst>
  </p:cmAuthor>
  <p:cmAuthor id="10" name="Jurva Katrina" initials="JK" lastIdx="39" clrIdx="9">
    <p:extLst>
      <p:ext uri="{19B8F6BF-5375-455C-9EA6-DF929625EA0E}">
        <p15:presenceInfo xmlns:p15="http://schemas.microsoft.com/office/powerpoint/2012/main" userId="S::katrina.jurva@aalto.fi::f3dfa77b-7b08-45d4-be9d-7bf51a25ee03" providerId="AD"/>
      </p:ext>
    </p:extLst>
  </p:cmAuthor>
  <p:cmAuthor id="4" name="Salmi-Savilampi Anu" initials="SA" lastIdx="4" clrIdx="3">
    <p:extLst>
      <p:ext uri="{19B8F6BF-5375-455C-9EA6-DF929625EA0E}">
        <p15:presenceInfo xmlns:p15="http://schemas.microsoft.com/office/powerpoint/2012/main" userId="S::anu.salmi-savilampi@aalto.fi::beda08e7-2f08-45b9-87da-198f1881df73" providerId="AD"/>
      </p:ext>
    </p:extLst>
  </p:cmAuthor>
  <p:cmAuthor id="5" name="Haikarainen Riikka" initials="HR" lastIdx="23" clrIdx="4">
    <p:extLst>
      <p:ext uri="{19B8F6BF-5375-455C-9EA6-DF929625EA0E}">
        <p15:presenceInfo xmlns:p15="http://schemas.microsoft.com/office/powerpoint/2012/main" userId="S::riikka.haikarainen@aalto.fi::d6a5f83e-2a54-4795-9f33-366efde645ef" providerId="AD"/>
      </p:ext>
    </p:extLst>
  </p:cmAuthor>
  <p:cmAuthor id="6" name="Krouglov Veera" initials="KV" lastIdx="5" clrIdx="5">
    <p:extLst>
      <p:ext uri="{19B8F6BF-5375-455C-9EA6-DF929625EA0E}">
        <p15:presenceInfo xmlns:p15="http://schemas.microsoft.com/office/powerpoint/2012/main" userId="S::veera.krouglov@aalto.fi::092a2b20-cda1-43cb-8d20-0e854f9303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B4DD"/>
    <a:srgbClr val="FFCD00"/>
    <a:srgbClr val="000000"/>
    <a:srgbClr val="EF353B"/>
    <a:srgbClr val="CCDFF1"/>
    <a:srgbClr val="FFFFFF"/>
    <a:srgbClr val="FF0000"/>
    <a:srgbClr val="F0F0F0"/>
    <a:srgbClr val="B2B4B2"/>
    <a:srgbClr val="EF36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>
        <p:guide pos="3175"/>
        <p:guide pos="2313"/>
        <p:guide orient="horz" pos="3072"/>
        <p:guide orient="horz" pos="1847"/>
        <p:guide orient="horz" pos="1529"/>
        <p:guide pos="2880"/>
        <p:guide orient="horz" pos="282"/>
        <p:guide orient="horz" pos="872"/>
        <p:guide pos="2472"/>
        <p:guide pos="1134"/>
        <p:guide pos="5465"/>
        <p:guide orient="horz" pos="849"/>
        <p:guide pos="295"/>
        <p:guide pos="2971"/>
        <p:guide orient="horz" pos="1166"/>
        <p:guide orient="horz" pos="531"/>
        <p:guide orient="horz" pos="804"/>
        <p:guide orient="horz" pos="323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1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2.xml"/><Relationship Id="rId41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sv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image" Target="../media/image70.svg"/><Relationship Id="rId1" Type="http://schemas.openxmlformats.org/officeDocument/2006/relationships/image" Target="../media/image69.png"/><Relationship Id="rId6" Type="http://schemas.openxmlformats.org/officeDocument/2006/relationships/image" Target="../media/image74.svg"/><Relationship Id="rId11" Type="http://schemas.openxmlformats.org/officeDocument/2006/relationships/image" Target="../media/image79.svg"/><Relationship Id="rId5" Type="http://schemas.openxmlformats.org/officeDocument/2006/relationships/image" Target="../media/image73.png"/><Relationship Id="rId15" Type="http://schemas.openxmlformats.org/officeDocument/2006/relationships/image" Target="../media/image83.svg"/><Relationship Id="rId10" Type="http://schemas.openxmlformats.org/officeDocument/2006/relationships/image" Target="../media/image78.png"/><Relationship Id="rId4" Type="http://schemas.openxmlformats.org/officeDocument/2006/relationships/image" Target="../media/image72.svg"/><Relationship Id="rId9" Type="http://schemas.openxmlformats.org/officeDocument/2006/relationships/image" Target="../media/image77.svg"/><Relationship Id="rId14" Type="http://schemas.openxmlformats.org/officeDocument/2006/relationships/image" Target="../media/image82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svg"/><Relationship Id="rId1" Type="http://schemas.openxmlformats.org/officeDocument/2006/relationships/image" Target="../media/image84.png"/><Relationship Id="rId6" Type="http://schemas.openxmlformats.org/officeDocument/2006/relationships/image" Target="../media/image89.svg"/><Relationship Id="rId5" Type="http://schemas.openxmlformats.org/officeDocument/2006/relationships/image" Target="../media/image88.png"/><Relationship Id="rId4" Type="http://schemas.openxmlformats.org/officeDocument/2006/relationships/image" Target="../media/image87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5.svg"/><Relationship Id="rId1" Type="http://schemas.openxmlformats.org/officeDocument/2006/relationships/image" Target="../media/image84.png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sv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image" Target="../media/image70.svg"/><Relationship Id="rId1" Type="http://schemas.openxmlformats.org/officeDocument/2006/relationships/image" Target="../media/image69.png"/><Relationship Id="rId6" Type="http://schemas.openxmlformats.org/officeDocument/2006/relationships/image" Target="../media/image74.svg"/><Relationship Id="rId11" Type="http://schemas.openxmlformats.org/officeDocument/2006/relationships/image" Target="../media/image79.svg"/><Relationship Id="rId5" Type="http://schemas.openxmlformats.org/officeDocument/2006/relationships/image" Target="../media/image73.png"/><Relationship Id="rId15" Type="http://schemas.openxmlformats.org/officeDocument/2006/relationships/image" Target="../media/image83.svg"/><Relationship Id="rId10" Type="http://schemas.openxmlformats.org/officeDocument/2006/relationships/image" Target="../media/image78.png"/><Relationship Id="rId4" Type="http://schemas.openxmlformats.org/officeDocument/2006/relationships/image" Target="../media/image72.svg"/><Relationship Id="rId9" Type="http://schemas.openxmlformats.org/officeDocument/2006/relationships/image" Target="../media/image77.svg"/><Relationship Id="rId14" Type="http://schemas.openxmlformats.org/officeDocument/2006/relationships/image" Target="../media/image8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svg"/><Relationship Id="rId1" Type="http://schemas.openxmlformats.org/officeDocument/2006/relationships/image" Target="../media/image84.png"/><Relationship Id="rId6" Type="http://schemas.openxmlformats.org/officeDocument/2006/relationships/image" Target="../media/image89.svg"/><Relationship Id="rId5" Type="http://schemas.openxmlformats.org/officeDocument/2006/relationships/image" Target="../media/image88.png"/><Relationship Id="rId4" Type="http://schemas.openxmlformats.org/officeDocument/2006/relationships/image" Target="../media/image87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5.svg"/><Relationship Id="rId1" Type="http://schemas.openxmlformats.org/officeDocument/2006/relationships/image" Target="../media/image84.png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611676-F9D6-43A6-B651-55D1D5E0652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9B85BA-E6AE-42DD-A2C0-45AE3A41A8C8}">
      <dgm:prSet custT="1"/>
      <dgm:spPr>
        <a:xfrm>
          <a:off x="1034956" y="676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Competence-based education (defined learning outcomes)</a:t>
          </a:r>
          <a:endParaRPr lang="en-US" sz="14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40CDD0BE-03CB-400B-BF7E-C50841DA7374}" type="parTrans" cxnId="{41ABD550-5DCE-49A3-85E4-9FA27EACE683}">
      <dgm:prSet/>
      <dgm:spPr/>
      <dgm:t>
        <a:bodyPr/>
        <a:lstStyle/>
        <a:p>
          <a:endParaRPr lang="en-US" sz="1200"/>
        </a:p>
      </dgm:t>
    </dgm:pt>
    <dgm:pt modelId="{9C4D7420-29C4-45FE-A453-9A7DF855296F}" type="sibTrans" cxnId="{41ABD550-5DCE-49A3-85E4-9FA27EACE683}">
      <dgm:prSet/>
      <dgm:spPr/>
      <dgm:t>
        <a:bodyPr/>
        <a:lstStyle/>
        <a:p>
          <a:endParaRPr lang="en-US" sz="1200"/>
        </a:p>
      </dgm:t>
    </dgm:pt>
    <dgm:pt modelId="{D1043B43-EAF5-4C20-B2D9-BDDB76D530E7}">
      <dgm:prSet phldrT="[Teksti]" custT="1"/>
      <dgm:spPr>
        <a:xfrm>
          <a:off x="3648483" y="676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Working-life relevance</a:t>
          </a:r>
        </a:p>
      </dgm:t>
    </dgm:pt>
    <dgm:pt modelId="{B7AB36A1-81E3-405F-BEDC-E98F6EF70CAE}" type="parTrans" cxnId="{272263CF-F1D0-41CB-9C04-9D868D7272B2}">
      <dgm:prSet/>
      <dgm:spPr/>
      <dgm:t>
        <a:bodyPr/>
        <a:lstStyle/>
        <a:p>
          <a:endParaRPr lang="fi-FI" sz="1200"/>
        </a:p>
      </dgm:t>
    </dgm:pt>
    <dgm:pt modelId="{7CDA7E50-AE97-45F8-A103-D78B2899C076}" type="sibTrans" cxnId="{272263CF-F1D0-41CB-9C04-9D868D7272B2}">
      <dgm:prSet/>
      <dgm:spPr/>
      <dgm:t>
        <a:bodyPr/>
        <a:lstStyle/>
        <a:p>
          <a:endParaRPr lang="fi-FI" sz="1200"/>
        </a:p>
      </dgm:t>
    </dgm:pt>
    <dgm:pt modelId="{710DF358-0E5D-4929-85D2-47BA45DDCD5B}">
      <dgm:prSet phldrT="[Teksti]" custT="1"/>
      <dgm:spPr>
        <a:xfrm>
          <a:off x="6262009" y="676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Research-based education</a:t>
          </a:r>
          <a:endParaRPr lang="en-GB" sz="1400" noProof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394EB903-0387-4714-980F-DF0E5A3314FC}" type="parTrans" cxnId="{44FC329E-BF9C-450D-9C7B-B1F154D94132}">
      <dgm:prSet/>
      <dgm:spPr/>
      <dgm:t>
        <a:bodyPr/>
        <a:lstStyle/>
        <a:p>
          <a:endParaRPr lang="fi-FI" sz="1200"/>
        </a:p>
      </dgm:t>
    </dgm:pt>
    <dgm:pt modelId="{1C2E8933-7A90-4703-BBD2-0CB193C5DE42}" type="sibTrans" cxnId="{44FC329E-BF9C-450D-9C7B-B1F154D94132}">
      <dgm:prSet/>
      <dgm:spPr/>
      <dgm:t>
        <a:bodyPr/>
        <a:lstStyle/>
        <a:p>
          <a:endParaRPr lang="fi-FI" sz="1200"/>
        </a:p>
      </dgm:t>
    </dgm:pt>
    <dgm:pt modelId="{DDE2E0FE-C549-43C3-B773-19DF01F54262}">
      <dgm:prSet phldrT="[Teksti]" custT="1"/>
      <dgm:spPr>
        <a:xfrm>
          <a:off x="1034956" y="12659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ter-nationalisation</a:t>
          </a:r>
        </a:p>
      </dgm:t>
    </dgm:pt>
    <dgm:pt modelId="{646DAA11-0D84-4FD3-9C56-EB235BC052B2}" type="parTrans" cxnId="{B2BCA806-BD5E-4E70-9315-0E0AF3B37E4D}">
      <dgm:prSet/>
      <dgm:spPr/>
      <dgm:t>
        <a:bodyPr/>
        <a:lstStyle/>
        <a:p>
          <a:endParaRPr lang="fi-FI" sz="1200"/>
        </a:p>
      </dgm:t>
    </dgm:pt>
    <dgm:pt modelId="{70E7DC42-61D7-4486-A21C-E85BF2FDF1FE}" type="sibTrans" cxnId="{B2BCA806-BD5E-4E70-9315-0E0AF3B37E4D}">
      <dgm:prSet/>
      <dgm:spPr/>
      <dgm:t>
        <a:bodyPr/>
        <a:lstStyle/>
        <a:p>
          <a:endParaRPr lang="fi-FI" sz="1200"/>
        </a:p>
      </dgm:t>
    </dgm:pt>
    <dgm:pt modelId="{D3ECE630-67B9-4770-BE37-506AF36429A1}">
      <dgm:prSet phldrT="[Teksti]" custT="1"/>
      <dgm:spPr>
        <a:xfrm>
          <a:off x="3648483" y="12659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tudent-centred approach</a:t>
          </a:r>
          <a:endParaRPr lang="en-GB" sz="1400" noProof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EA88A2FE-40CD-4B0A-84D6-BD41343FCF3F}" type="parTrans" cxnId="{BB1C103D-2F5C-407D-B3FF-409A15127398}">
      <dgm:prSet/>
      <dgm:spPr/>
      <dgm:t>
        <a:bodyPr/>
        <a:lstStyle/>
        <a:p>
          <a:endParaRPr lang="fi-FI" sz="1200"/>
        </a:p>
      </dgm:t>
    </dgm:pt>
    <dgm:pt modelId="{6C3DC99B-4E6D-4EAB-897D-5204A3ABB33F}" type="sibTrans" cxnId="{BB1C103D-2F5C-407D-B3FF-409A15127398}">
      <dgm:prSet/>
      <dgm:spPr/>
      <dgm:t>
        <a:bodyPr/>
        <a:lstStyle/>
        <a:p>
          <a:endParaRPr lang="fi-FI" sz="1200"/>
        </a:p>
      </dgm:t>
    </dgm:pt>
    <dgm:pt modelId="{47DE1752-79F1-47D5-A699-7BF092AE6434}">
      <dgm:prSet phldrT="[Teksti]" custT="1"/>
      <dgm:spPr>
        <a:xfrm>
          <a:off x="6262009" y="12659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upport services </a:t>
          </a:r>
        </a:p>
      </dgm:t>
    </dgm:pt>
    <dgm:pt modelId="{90D98A30-83BB-4548-B5B8-DC855B92EE7A}" type="parTrans" cxnId="{03051707-2AAA-4BEE-B4DA-360B22954D15}">
      <dgm:prSet/>
      <dgm:spPr/>
      <dgm:t>
        <a:bodyPr/>
        <a:lstStyle/>
        <a:p>
          <a:endParaRPr lang="fi-FI" sz="1200"/>
        </a:p>
      </dgm:t>
    </dgm:pt>
    <dgm:pt modelId="{29F2147B-58D8-4D62-A5B7-1245657F5AAE}" type="sibTrans" cxnId="{03051707-2AAA-4BEE-B4DA-360B22954D15}">
      <dgm:prSet/>
      <dgm:spPr/>
      <dgm:t>
        <a:bodyPr/>
        <a:lstStyle/>
        <a:p>
          <a:endParaRPr lang="fi-FI" sz="1200"/>
        </a:p>
      </dgm:t>
    </dgm:pt>
    <dgm:pt modelId="{9418AD87-7B1B-486C-8913-9F49E2B1A69A}">
      <dgm:prSet phldrT="[Teksti]" custT="1"/>
      <dgm:spPr>
        <a:xfrm>
          <a:off x="1034956" y="24642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Continuous/ </a:t>
          </a:r>
          <a:r>
            <a:rPr lang="en-GB" sz="1400" b="1" noProof="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lifewide</a:t>
          </a: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learning</a:t>
          </a:r>
          <a:endParaRPr lang="en-GB" sz="1400" noProof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80B02025-1680-425F-B366-12EF1D9748C6}" type="parTrans" cxnId="{D1D3F2F8-39D3-4AD7-ADC8-14459B43DBA6}">
      <dgm:prSet/>
      <dgm:spPr/>
      <dgm:t>
        <a:bodyPr/>
        <a:lstStyle/>
        <a:p>
          <a:endParaRPr lang="fi-FI" sz="1200"/>
        </a:p>
      </dgm:t>
    </dgm:pt>
    <dgm:pt modelId="{650859FD-CFEE-4265-93FE-561B315C92ED}" type="sibTrans" cxnId="{D1D3F2F8-39D3-4AD7-ADC8-14459B43DBA6}">
      <dgm:prSet/>
      <dgm:spPr/>
      <dgm:t>
        <a:bodyPr/>
        <a:lstStyle/>
        <a:p>
          <a:endParaRPr lang="fi-FI" sz="1200"/>
        </a:p>
      </dgm:t>
    </dgm:pt>
    <dgm:pt modelId="{4E962320-1758-47F2-A9ED-AB03ACD1230C}">
      <dgm:prSet phldrT="[Teksti]" custT="1"/>
      <dgm:spPr>
        <a:xfrm>
          <a:off x="3648483" y="2464228"/>
          <a:ext cx="1547020" cy="65631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GB" sz="1400" b="1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ystematic development of education</a:t>
          </a:r>
        </a:p>
      </dgm:t>
    </dgm:pt>
    <dgm:pt modelId="{96ABD576-5BD1-4099-9F77-5A2F9296D9FF}" type="parTrans" cxnId="{FB43823F-79B2-4955-9B61-2B23FB2310DC}">
      <dgm:prSet/>
      <dgm:spPr/>
      <dgm:t>
        <a:bodyPr/>
        <a:lstStyle/>
        <a:p>
          <a:endParaRPr lang="fi-FI" sz="1200"/>
        </a:p>
      </dgm:t>
    </dgm:pt>
    <dgm:pt modelId="{FA849938-3F7E-4B23-9048-78A31017CFB4}" type="sibTrans" cxnId="{FB43823F-79B2-4955-9B61-2B23FB2310DC}">
      <dgm:prSet/>
      <dgm:spPr/>
      <dgm:t>
        <a:bodyPr/>
        <a:lstStyle/>
        <a:p>
          <a:endParaRPr lang="fi-FI" sz="1200"/>
        </a:p>
      </dgm:t>
    </dgm:pt>
    <dgm:pt modelId="{275D0A00-4AAC-4365-BE08-4E92453EBD47}" type="pres">
      <dgm:prSet presAssocID="{D1611676-F9D6-43A6-B651-55D1D5E0652B}" presName="root" presStyleCnt="0">
        <dgm:presLayoutVars>
          <dgm:dir/>
          <dgm:resizeHandles val="exact"/>
        </dgm:presLayoutVars>
      </dgm:prSet>
      <dgm:spPr/>
    </dgm:pt>
    <dgm:pt modelId="{3D9BF99F-901A-4DDC-876D-EF352B9B2440}" type="pres">
      <dgm:prSet presAssocID="{D1611676-F9D6-43A6-B651-55D1D5E0652B}" presName="container" presStyleCnt="0">
        <dgm:presLayoutVars>
          <dgm:dir/>
          <dgm:resizeHandles val="exact"/>
        </dgm:presLayoutVars>
      </dgm:prSet>
      <dgm:spPr/>
    </dgm:pt>
    <dgm:pt modelId="{2A78B96B-6DA9-4C2B-88D9-DCBFABEAFA53}" type="pres">
      <dgm:prSet presAssocID="{AA9B85BA-E6AE-42DD-A2C0-45AE3A41A8C8}" presName="compNode" presStyleCnt="0"/>
      <dgm:spPr/>
    </dgm:pt>
    <dgm:pt modelId="{53F0263C-5497-4721-9C0E-E2376126BB7C}" type="pres">
      <dgm:prSet presAssocID="{AA9B85BA-E6AE-42DD-A2C0-45AE3A41A8C8}" presName="iconBgRect" presStyleLbl="bgShp" presStyleIdx="0" presStyleCnt="8"/>
      <dgm:spPr>
        <a:xfrm>
          <a:off x="238007" y="676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3101C320-4C6C-428D-9B4E-21ADC2C6963F}" type="pres">
      <dgm:prSet presAssocID="{AA9B85BA-E6AE-42DD-A2C0-45AE3A41A8C8}" presName="iconRect" presStyleLbl="node1" presStyleIdx="0" presStyleCnt="8"/>
      <dgm:spPr>
        <a:xfrm>
          <a:off x="375832" y="205453"/>
          <a:ext cx="380660" cy="38066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Map compass"/>
        </a:ext>
      </dgm:extLst>
    </dgm:pt>
    <dgm:pt modelId="{A5DA0570-73E9-4D7F-BCD8-BE2FBAF59E48}" type="pres">
      <dgm:prSet presAssocID="{AA9B85BA-E6AE-42DD-A2C0-45AE3A41A8C8}" presName="spaceRect" presStyleCnt="0"/>
      <dgm:spPr/>
    </dgm:pt>
    <dgm:pt modelId="{2AA78C63-950C-4CB6-811D-321173F12316}" type="pres">
      <dgm:prSet presAssocID="{AA9B85BA-E6AE-42DD-A2C0-45AE3A41A8C8}" presName="textRect" presStyleLbl="revTx" presStyleIdx="0" presStyleCnt="8">
        <dgm:presLayoutVars>
          <dgm:chMax val="1"/>
          <dgm:chPref val="1"/>
        </dgm:presLayoutVars>
      </dgm:prSet>
      <dgm:spPr/>
    </dgm:pt>
    <dgm:pt modelId="{F11321A3-3FBC-4AC9-BA9E-A3879B032AA7}" type="pres">
      <dgm:prSet presAssocID="{9C4D7420-29C4-45FE-A453-9A7DF855296F}" presName="sibTrans" presStyleLbl="sibTrans2D1" presStyleIdx="0" presStyleCnt="0"/>
      <dgm:spPr/>
    </dgm:pt>
    <dgm:pt modelId="{32574FC7-3359-4A88-AAA7-140509F55C22}" type="pres">
      <dgm:prSet presAssocID="{D1043B43-EAF5-4C20-B2D9-BDDB76D530E7}" presName="compNode" presStyleCnt="0"/>
      <dgm:spPr/>
    </dgm:pt>
    <dgm:pt modelId="{D31FE7C2-4CAC-4FD8-90B7-E74938C20B33}" type="pres">
      <dgm:prSet presAssocID="{D1043B43-EAF5-4C20-B2D9-BDDB76D530E7}" presName="iconBgRect" presStyleLbl="bgShp" presStyleIdx="1" presStyleCnt="8"/>
      <dgm:spPr>
        <a:xfrm>
          <a:off x="2851533" y="676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85FD18F9-AC07-4A32-9109-9290A8357264}" type="pres">
      <dgm:prSet presAssocID="{D1043B43-EAF5-4C20-B2D9-BDDB76D530E7}" presName="iconRect" presStyleLbl="node1" presStyleIdx="1" presStyleCnt="8"/>
      <dgm:spPr>
        <a:xfrm>
          <a:off x="2989358" y="2054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6000" b="-6000"/>
          </a:stretch>
        </a:blipFill>
        <a:ln w="25400" cap="flat" cmpd="sng" algn="ctr">
          <a:noFill/>
          <a:prstDash val="solid"/>
        </a:ln>
        <a:effectLst/>
      </dgm:spPr>
    </dgm:pt>
    <dgm:pt modelId="{C90C9B6F-E85B-4ABC-960B-BCB5D32DD989}" type="pres">
      <dgm:prSet presAssocID="{D1043B43-EAF5-4C20-B2D9-BDDB76D530E7}" presName="spaceRect" presStyleCnt="0"/>
      <dgm:spPr/>
    </dgm:pt>
    <dgm:pt modelId="{2F05FF37-60F8-495F-9CE3-5AF762D02507}" type="pres">
      <dgm:prSet presAssocID="{D1043B43-EAF5-4C20-B2D9-BDDB76D530E7}" presName="textRect" presStyleLbl="revTx" presStyleIdx="1" presStyleCnt="8">
        <dgm:presLayoutVars>
          <dgm:chMax val="1"/>
          <dgm:chPref val="1"/>
        </dgm:presLayoutVars>
      </dgm:prSet>
      <dgm:spPr/>
    </dgm:pt>
    <dgm:pt modelId="{388EFD68-24AC-4D11-B03A-1280C18D640F}" type="pres">
      <dgm:prSet presAssocID="{7CDA7E50-AE97-45F8-A103-D78B2899C076}" presName="sibTrans" presStyleLbl="sibTrans2D1" presStyleIdx="0" presStyleCnt="0"/>
      <dgm:spPr/>
    </dgm:pt>
    <dgm:pt modelId="{75742B20-5329-4F36-B3B3-C1368C5CF1C5}" type="pres">
      <dgm:prSet presAssocID="{710DF358-0E5D-4929-85D2-47BA45DDCD5B}" presName="compNode" presStyleCnt="0"/>
      <dgm:spPr/>
    </dgm:pt>
    <dgm:pt modelId="{2790BE34-B044-4A8D-B9D2-C0DAB5FD1AC5}" type="pres">
      <dgm:prSet presAssocID="{710DF358-0E5D-4929-85D2-47BA45DDCD5B}" presName="iconBgRect" presStyleLbl="bgShp" presStyleIdx="2" presStyleCnt="8"/>
      <dgm:spPr>
        <a:xfrm>
          <a:off x="5465059" y="676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D38567AF-2722-4FD5-8000-DE8A3F92979A}" type="pres">
      <dgm:prSet presAssocID="{710DF358-0E5D-4929-85D2-47BA45DDCD5B}" presName="iconRect" presStyleLbl="node1" presStyleIdx="2" presStyleCnt="8"/>
      <dgm:spPr>
        <a:xfrm>
          <a:off x="5602885" y="205453"/>
          <a:ext cx="380660" cy="38066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Pyrkimys tasaisella täytöllä"/>
        </a:ext>
      </dgm:extLst>
    </dgm:pt>
    <dgm:pt modelId="{7DC6C7AE-DF97-4BF8-8207-ABA2705D4FEC}" type="pres">
      <dgm:prSet presAssocID="{710DF358-0E5D-4929-85D2-47BA45DDCD5B}" presName="spaceRect" presStyleCnt="0"/>
      <dgm:spPr/>
    </dgm:pt>
    <dgm:pt modelId="{8A574A3A-6B47-41B4-82AA-C59FFE61553D}" type="pres">
      <dgm:prSet presAssocID="{710DF358-0E5D-4929-85D2-47BA45DDCD5B}" presName="textRect" presStyleLbl="revTx" presStyleIdx="2" presStyleCnt="8">
        <dgm:presLayoutVars>
          <dgm:chMax val="1"/>
          <dgm:chPref val="1"/>
        </dgm:presLayoutVars>
      </dgm:prSet>
      <dgm:spPr/>
    </dgm:pt>
    <dgm:pt modelId="{8C548718-6938-4291-94B2-7C7A3E90C9F9}" type="pres">
      <dgm:prSet presAssocID="{1C2E8933-7A90-4703-BBD2-0CB193C5DE42}" presName="sibTrans" presStyleLbl="sibTrans2D1" presStyleIdx="0" presStyleCnt="0"/>
      <dgm:spPr/>
    </dgm:pt>
    <dgm:pt modelId="{2D6E50FB-4A5D-4300-9856-1CFE8C7225C4}" type="pres">
      <dgm:prSet presAssocID="{DDE2E0FE-C549-43C3-B773-19DF01F54262}" presName="compNode" presStyleCnt="0"/>
      <dgm:spPr/>
    </dgm:pt>
    <dgm:pt modelId="{430B1279-FB41-4BA8-B2B8-7D0563184C7E}" type="pres">
      <dgm:prSet presAssocID="{DDE2E0FE-C549-43C3-B773-19DF01F54262}" presName="iconBgRect" presStyleLbl="bgShp" presStyleIdx="3" presStyleCnt="8"/>
      <dgm:spPr>
        <a:xfrm>
          <a:off x="238007" y="12659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BEF3B22F-8817-4EFD-8546-EF87BE73FBF3}" type="pres">
      <dgm:prSet presAssocID="{DDE2E0FE-C549-43C3-B773-19DF01F54262}" presName="iconRect" presStyleLbl="node1" presStyleIdx="3" presStyleCnt="8"/>
      <dgm:spPr>
        <a:xfrm>
          <a:off x="375832" y="14037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7">
            <a:alphaModFix amt="80000"/>
            <a:duotone>
              <a:srgbClr val="0D93D2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gm:spPr>
    </dgm:pt>
    <dgm:pt modelId="{E1B7D2C6-B7C5-409C-8907-6EE0ADCD1A10}" type="pres">
      <dgm:prSet presAssocID="{DDE2E0FE-C549-43C3-B773-19DF01F54262}" presName="spaceRect" presStyleCnt="0"/>
      <dgm:spPr/>
    </dgm:pt>
    <dgm:pt modelId="{FB7596CA-0BEE-44CF-BB32-9F419BD50817}" type="pres">
      <dgm:prSet presAssocID="{DDE2E0FE-C549-43C3-B773-19DF01F54262}" presName="textRect" presStyleLbl="revTx" presStyleIdx="3" presStyleCnt="8">
        <dgm:presLayoutVars>
          <dgm:chMax val="1"/>
          <dgm:chPref val="1"/>
        </dgm:presLayoutVars>
      </dgm:prSet>
      <dgm:spPr/>
    </dgm:pt>
    <dgm:pt modelId="{56C9407A-20EF-45E8-82BC-A2BA1F0A30D9}" type="pres">
      <dgm:prSet presAssocID="{70E7DC42-61D7-4486-A21C-E85BF2FDF1FE}" presName="sibTrans" presStyleLbl="sibTrans2D1" presStyleIdx="0" presStyleCnt="0"/>
      <dgm:spPr/>
    </dgm:pt>
    <dgm:pt modelId="{244C6FA5-A993-4D78-A04A-182EAF2364A3}" type="pres">
      <dgm:prSet presAssocID="{D3ECE630-67B9-4770-BE37-506AF36429A1}" presName="compNode" presStyleCnt="0"/>
      <dgm:spPr/>
    </dgm:pt>
    <dgm:pt modelId="{B8E738A8-6B44-4C40-ACA8-36F3B9BD66FF}" type="pres">
      <dgm:prSet presAssocID="{D3ECE630-67B9-4770-BE37-506AF36429A1}" presName="iconBgRect" presStyleLbl="bgShp" presStyleIdx="4" presStyleCnt="8"/>
      <dgm:spPr>
        <a:xfrm>
          <a:off x="2851533" y="12659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3DA4930A-D077-4329-A4F8-5C56FABAE202}" type="pres">
      <dgm:prSet presAssocID="{D3ECE630-67B9-4770-BE37-506AF36429A1}" presName="iconRect" presStyleLbl="node1" presStyleIdx="4" presStyleCnt="8"/>
      <dgm:spPr>
        <a:xfrm>
          <a:off x="2989358" y="1403753"/>
          <a:ext cx="380660" cy="380660"/>
        </a:xfrm>
        <a:prstGeom prst="rect">
          <a:avLst/>
        </a:prstGeom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Koulupoika tasaisella täytöllä"/>
        </a:ext>
      </dgm:extLst>
    </dgm:pt>
    <dgm:pt modelId="{26BDCB1C-9D59-405F-B6E9-3342FFAE026F}" type="pres">
      <dgm:prSet presAssocID="{D3ECE630-67B9-4770-BE37-506AF36429A1}" presName="spaceRect" presStyleCnt="0"/>
      <dgm:spPr/>
    </dgm:pt>
    <dgm:pt modelId="{8F113F3B-6787-40FE-8DA1-E42F9FF9BED0}" type="pres">
      <dgm:prSet presAssocID="{D3ECE630-67B9-4770-BE37-506AF36429A1}" presName="textRect" presStyleLbl="revTx" presStyleIdx="4" presStyleCnt="8">
        <dgm:presLayoutVars>
          <dgm:chMax val="1"/>
          <dgm:chPref val="1"/>
        </dgm:presLayoutVars>
      </dgm:prSet>
      <dgm:spPr/>
    </dgm:pt>
    <dgm:pt modelId="{919B3190-22F4-40FF-A013-C361E0254031}" type="pres">
      <dgm:prSet presAssocID="{6C3DC99B-4E6D-4EAB-897D-5204A3ABB33F}" presName="sibTrans" presStyleLbl="sibTrans2D1" presStyleIdx="0" presStyleCnt="0"/>
      <dgm:spPr/>
    </dgm:pt>
    <dgm:pt modelId="{BADF7FCF-0FF5-41C3-B03D-4123D1ED2B11}" type="pres">
      <dgm:prSet presAssocID="{47DE1752-79F1-47D5-A699-7BF092AE6434}" presName="compNode" presStyleCnt="0"/>
      <dgm:spPr/>
    </dgm:pt>
    <dgm:pt modelId="{073EC36B-7ACD-4543-A71D-D0000A6373C9}" type="pres">
      <dgm:prSet presAssocID="{47DE1752-79F1-47D5-A699-7BF092AE6434}" presName="iconBgRect" presStyleLbl="bgShp" presStyleIdx="5" presStyleCnt="8"/>
      <dgm:spPr>
        <a:xfrm>
          <a:off x="5465059" y="12659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4C31C450-813E-4731-A319-971C76DC6164}" type="pres">
      <dgm:prSet presAssocID="{47DE1752-79F1-47D5-A699-7BF092AE6434}" presName="iconRect" presStyleLbl="node1" presStyleIdx="5" presStyleCnt="8"/>
      <dgm:spPr>
        <a:xfrm>
          <a:off x="5602885" y="14037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gm:spPr>
    </dgm:pt>
    <dgm:pt modelId="{4FC7262F-E109-4BC4-A780-65667EE1BA9C}" type="pres">
      <dgm:prSet presAssocID="{47DE1752-79F1-47D5-A699-7BF092AE6434}" presName="spaceRect" presStyleCnt="0"/>
      <dgm:spPr/>
    </dgm:pt>
    <dgm:pt modelId="{D163498D-1E8A-4733-A924-0A80750F077C}" type="pres">
      <dgm:prSet presAssocID="{47DE1752-79F1-47D5-A699-7BF092AE6434}" presName="textRect" presStyleLbl="revTx" presStyleIdx="5" presStyleCnt="8">
        <dgm:presLayoutVars>
          <dgm:chMax val="1"/>
          <dgm:chPref val="1"/>
        </dgm:presLayoutVars>
      </dgm:prSet>
      <dgm:spPr/>
    </dgm:pt>
    <dgm:pt modelId="{1B467439-C198-449E-AF75-76B9283F9AD3}" type="pres">
      <dgm:prSet presAssocID="{29F2147B-58D8-4D62-A5B7-1245657F5AAE}" presName="sibTrans" presStyleLbl="sibTrans2D1" presStyleIdx="0" presStyleCnt="0"/>
      <dgm:spPr/>
    </dgm:pt>
    <dgm:pt modelId="{162B6491-A5E7-4A8C-A1B9-FB3972C94D16}" type="pres">
      <dgm:prSet presAssocID="{9418AD87-7B1B-486C-8913-9F49E2B1A69A}" presName="compNode" presStyleCnt="0"/>
      <dgm:spPr/>
    </dgm:pt>
    <dgm:pt modelId="{CDBCE09F-F06C-4C1F-9D20-4C81B0E042AE}" type="pres">
      <dgm:prSet presAssocID="{9418AD87-7B1B-486C-8913-9F49E2B1A69A}" presName="iconBgRect" presStyleLbl="bgShp" presStyleIdx="6" presStyleCnt="8"/>
      <dgm:spPr>
        <a:xfrm>
          <a:off x="238007" y="24642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E9152A7E-A2F8-41D3-9800-D6BD3AA8B3E4}" type="pres">
      <dgm:prSet presAssocID="{9418AD87-7B1B-486C-8913-9F49E2B1A69A}" presName="iconRect" presStyleLbl="node1" presStyleIdx="6" presStyleCnt="8"/>
      <dgm:spPr>
        <a:xfrm>
          <a:off x="375832" y="2602053"/>
          <a:ext cx="380660" cy="380660"/>
        </a:xfrm>
        <a:prstGeom prst="rect">
          <a:avLst/>
        </a:prstGeom>
        <a:blipFill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Jatkuva parannus tasaisella täytöllä"/>
        </a:ext>
      </dgm:extLst>
    </dgm:pt>
    <dgm:pt modelId="{F0172BB0-DFAA-49D3-BF1D-14A0F9855188}" type="pres">
      <dgm:prSet presAssocID="{9418AD87-7B1B-486C-8913-9F49E2B1A69A}" presName="spaceRect" presStyleCnt="0"/>
      <dgm:spPr/>
    </dgm:pt>
    <dgm:pt modelId="{373E4AF0-7414-4520-B0B7-46813CF9D761}" type="pres">
      <dgm:prSet presAssocID="{9418AD87-7B1B-486C-8913-9F49E2B1A69A}" presName="textRect" presStyleLbl="revTx" presStyleIdx="6" presStyleCnt="8">
        <dgm:presLayoutVars>
          <dgm:chMax val="1"/>
          <dgm:chPref val="1"/>
        </dgm:presLayoutVars>
      </dgm:prSet>
      <dgm:spPr/>
    </dgm:pt>
    <dgm:pt modelId="{B092B522-9E96-4289-AECB-D2712B8DB86A}" type="pres">
      <dgm:prSet presAssocID="{650859FD-CFEE-4265-93FE-561B315C92ED}" presName="sibTrans" presStyleLbl="sibTrans2D1" presStyleIdx="0" presStyleCnt="0"/>
      <dgm:spPr/>
    </dgm:pt>
    <dgm:pt modelId="{5F42B8D1-DD8E-4A30-81F7-5271741827BE}" type="pres">
      <dgm:prSet presAssocID="{4E962320-1758-47F2-A9ED-AB03ACD1230C}" presName="compNode" presStyleCnt="0"/>
      <dgm:spPr/>
    </dgm:pt>
    <dgm:pt modelId="{D53D70BE-BE2D-4DB8-92EE-099367DA4094}" type="pres">
      <dgm:prSet presAssocID="{4E962320-1758-47F2-A9ED-AB03ACD1230C}" presName="iconBgRect" presStyleLbl="bgShp" presStyleIdx="7" presStyleCnt="8"/>
      <dgm:spPr>
        <a:xfrm>
          <a:off x="2851533" y="24642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70FE5C36-055F-4A79-B654-D89249D3C1DF}" type="pres">
      <dgm:prSet presAssocID="{4E962320-1758-47F2-A9ED-AB03ACD1230C}" presName="iconRect" presStyleLbl="node1" presStyleIdx="7" presStyleCnt="8"/>
      <dgm:spPr>
        <a:xfrm>
          <a:off x="2989358" y="26020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gm:spPr>
    </dgm:pt>
    <dgm:pt modelId="{0453F0EE-8767-45DE-B225-430B1B444AF9}" type="pres">
      <dgm:prSet presAssocID="{4E962320-1758-47F2-A9ED-AB03ACD1230C}" presName="spaceRect" presStyleCnt="0"/>
      <dgm:spPr/>
    </dgm:pt>
    <dgm:pt modelId="{C6CDB837-B145-4C7F-824B-401AA16D28F7}" type="pres">
      <dgm:prSet presAssocID="{4E962320-1758-47F2-A9ED-AB03ACD1230C}" presName="textRect" presStyleLbl="revTx" presStyleIdx="7" presStyleCnt="8">
        <dgm:presLayoutVars>
          <dgm:chMax val="1"/>
          <dgm:chPref val="1"/>
        </dgm:presLayoutVars>
      </dgm:prSet>
      <dgm:spPr/>
    </dgm:pt>
  </dgm:ptLst>
  <dgm:cxnLst>
    <dgm:cxn modelId="{B2BCA806-BD5E-4E70-9315-0E0AF3B37E4D}" srcId="{D1611676-F9D6-43A6-B651-55D1D5E0652B}" destId="{DDE2E0FE-C549-43C3-B773-19DF01F54262}" srcOrd="3" destOrd="0" parTransId="{646DAA11-0D84-4FD3-9C56-EB235BC052B2}" sibTransId="{70E7DC42-61D7-4486-A21C-E85BF2FDF1FE}"/>
    <dgm:cxn modelId="{03051707-2AAA-4BEE-B4DA-360B22954D15}" srcId="{D1611676-F9D6-43A6-B651-55D1D5E0652B}" destId="{47DE1752-79F1-47D5-A699-7BF092AE6434}" srcOrd="5" destOrd="0" parTransId="{90D98A30-83BB-4548-B5B8-DC855B92EE7A}" sibTransId="{29F2147B-58D8-4D62-A5B7-1245657F5AAE}"/>
    <dgm:cxn modelId="{1CE4CF16-1D71-481B-B404-62295B4C6FCA}" type="presOf" srcId="{AA9B85BA-E6AE-42DD-A2C0-45AE3A41A8C8}" destId="{2AA78C63-950C-4CB6-811D-321173F12316}" srcOrd="0" destOrd="0" presId="urn:microsoft.com/office/officeart/2018/2/layout/IconCircleList"/>
    <dgm:cxn modelId="{FD665338-58CE-4D08-993B-D27E3CDB17AD}" type="presOf" srcId="{DDE2E0FE-C549-43C3-B773-19DF01F54262}" destId="{FB7596CA-0BEE-44CF-BB32-9F419BD50817}" srcOrd="0" destOrd="0" presId="urn:microsoft.com/office/officeart/2018/2/layout/IconCircleList"/>
    <dgm:cxn modelId="{BB1C103D-2F5C-407D-B3FF-409A15127398}" srcId="{D1611676-F9D6-43A6-B651-55D1D5E0652B}" destId="{D3ECE630-67B9-4770-BE37-506AF36429A1}" srcOrd="4" destOrd="0" parTransId="{EA88A2FE-40CD-4B0A-84D6-BD41343FCF3F}" sibTransId="{6C3DC99B-4E6D-4EAB-897D-5204A3ABB33F}"/>
    <dgm:cxn modelId="{FB43823F-79B2-4955-9B61-2B23FB2310DC}" srcId="{D1611676-F9D6-43A6-B651-55D1D5E0652B}" destId="{4E962320-1758-47F2-A9ED-AB03ACD1230C}" srcOrd="7" destOrd="0" parTransId="{96ABD576-5BD1-4099-9F77-5A2F9296D9FF}" sibTransId="{FA849938-3F7E-4B23-9048-78A31017CFB4}"/>
    <dgm:cxn modelId="{150C1A67-FD82-4846-9A2C-D458B696A369}" type="presOf" srcId="{7CDA7E50-AE97-45F8-A103-D78B2899C076}" destId="{388EFD68-24AC-4D11-B03A-1280C18D640F}" srcOrd="0" destOrd="0" presId="urn:microsoft.com/office/officeart/2018/2/layout/IconCircleList"/>
    <dgm:cxn modelId="{C7E0C44F-9379-44BD-B90F-933DD611A78A}" type="presOf" srcId="{70E7DC42-61D7-4486-A21C-E85BF2FDF1FE}" destId="{56C9407A-20EF-45E8-82BC-A2BA1F0A30D9}" srcOrd="0" destOrd="0" presId="urn:microsoft.com/office/officeart/2018/2/layout/IconCircleList"/>
    <dgm:cxn modelId="{41ABD550-5DCE-49A3-85E4-9FA27EACE683}" srcId="{D1611676-F9D6-43A6-B651-55D1D5E0652B}" destId="{AA9B85BA-E6AE-42DD-A2C0-45AE3A41A8C8}" srcOrd="0" destOrd="0" parTransId="{40CDD0BE-03CB-400B-BF7E-C50841DA7374}" sibTransId="{9C4D7420-29C4-45FE-A453-9A7DF855296F}"/>
    <dgm:cxn modelId="{7361FC50-8B30-4BC4-8E33-D13D10D902E3}" type="presOf" srcId="{47DE1752-79F1-47D5-A699-7BF092AE6434}" destId="{D163498D-1E8A-4733-A924-0A80750F077C}" srcOrd="0" destOrd="0" presId="urn:microsoft.com/office/officeart/2018/2/layout/IconCircleList"/>
    <dgm:cxn modelId="{1CF52954-ACF6-448A-9500-A628CC4C889D}" type="presOf" srcId="{4E962320-1758-47F2-A9ED-AB03ACD1230C}" destId="{C6CDB837-B145-4C7F-824B-401AA16D28F7}" srcOrd="0" destOrd="0" presId="urn:microsoft.com/office/officeart/2018/2/layout/IconCircleList"/>
    <dgm:cxn modelId="{2F596256-573B-4BDA-BBF0-34978B5008D9}" type="presOf" srcId="{9C4D7420-29C4-45FE-A453-9A7DF855296F}" destId="{F11321A3-3FBC-4AC9-BA9E-A3879B032AA7}" srcOrd="0" destOrd="0" presId="urn:microsoft.com/office/officeart/2018/2/layout/IconCircleList"/>
    <dgm:cxn modelId="{126A2177-4A31-4B8B-A2B3-477D0F9A6AF0}" type="presOf" srcId="{650859FD-CFEE-4265-93FE-561B315C92ED}" destId="{B092B522-9E96-4289-AECB-D2712B8DB86A}" srcOrd="0" destOrd="0" presId="urn:microsoft.com/office/officeart/2018/2/layout/IconCircleList"/>
    <dgm:cxn modelId="{EC795B94-6FF9-4591-A39E-8309070F873A}" type="presOf" srcId="{1C2E8933-7A90-4703-BBD2-0CB193C5DE42}" destId="{8C548718-6938-4291-94B2-7C7A3E90C9F9}" srcOrd="0" destOrd="0" presId="urn:microsoft.com/office/officeart/2018/2/layout/IconCircleList"/>
    <dgm:cxn modelId="{81A72196-D20B-4C08-B64D-B5A6874FB300}" type="presOf" srcId="{D1611676-F9D6-43A6-B651-55D1D5E0652B}" destId="{275D0A00-4AAC-4365-BE08-4E92453EBD47}" srcOrd="0" destOrd="0" presId="urn:microsoft.com/office/officeart/2018/2/layout/IconCircleList"/>
    <dgm:cxn modelId="{1E039596-439F-44DA-949A-CA4AFB330223}" type="presOf" srcId="{6C3DC99B-4E6D-4EAB-897D-5204A3ABB33F}" destId="{919B3190-22F4-40FF-A013-C361E0254031}" srcOrd="0" destOrd="0" presId="urn:microsoft.com/office/officeart/2018/2/layout/IconCircleList"/>
    <dgm:cxn modelId="{44FC329E-BF9C-450D-9C7B-B1F154D94132}" srcId="{D1611676-F9D6-43A6-B651-55D1D5E0652B}" destId="{710DF358-0E5D-4929-85D2-47BA45DDCD5B}" srcOrd="2" destOrd="0" parTransId="{394EB903-0387-4714-980F-DF0E5A3314FC}" sibTransId="{1C2E8933-7A90-4703-BBD2-0CB193C5DE42}"/>
    <dgm:cxn modelId="{29A868BA-FB06-4CF4-9681-222A286E8144}" type="presOf" srcId="{9418AD87-7B1B-486C-8913-9F49E2B1A69A}" destId="{373E4AF0-7414-4520-B0B7-46813CF9D761}" srcOrd="0" destOrd="0" presId="urn:microsoft.com/office/officeart/2018/2/layout/IconCircleList"/>
    <dgm:cxn modelId="{827574C7-1FE5-4127-BF5B-58CA42926CD7}" type="presOf" srcId="{29F2147B-58D8-4D62-A5B7-1245657F5AAE}" destId="{1B467439-C198-449E-AF75-76B9283F9AD3}" srcOrd="0" destOrd="0" presId="urn:microsoft.com/office/officeart/2018/2/layout/IconCircleList"/>
    <dgm:cxn modelId="{272263CF-F1D0-41CB-9C04-9D868D7272B2}" srcId="{D1611676-F9D6-43A6-B651-55D1D5E0652B}" destId="{D1043B43-EAF5-4C20-B2D9-BDDB76D530E7}" srcOrd="1" destOrd="0" parTransId="{B7AB36A1-81E3-405F-BEDC-E98F6EF70CAE}" sibTransId="{7CDA7E50-AE97-45F8-A103-D78B2899C076}"/>
    <dgm:cxn modelId="{3FB6E7D7-069F-4706-89F2-2D46E1D67A53}" type="presOf" srcId="{D1043B43-EAF5-4C20-B2D9-BDDB76D530E7}" destId="{2F05FF37-60F8-495F-9CE3-5AF762D02507}" srcOrd="0" destOrd="0" presId="urn:microsoft.com/office/officeart/2018/2/layout/IconCircleList"/>
    <dgm:cxn modelId="{9A04DFE1-FA14-4C52-83DD-165BD110EA08}" type="presOf" srcId="{D3ECE630-67B9-4770-BE37-506AF36429A1}" destId="{8F113F3B-6787-40FE-8DA1-E42F9FF9BED0}" srcOrd="0" destOrd="0" presId="urn:microsoft.com/office/officeart/2018/2/layout/IconCircleList"/>
    <dgm:cxn modelId="{6211EFF3-3057-4ECD-853E-DC5C8849C164}" type="presOf" srcId="{710DF358-0E5D-4929-85D2-47BA45DDCD5B}" destId="{8A574A3A-6B47-41B4-82AA-C59FFE61553D}" srcOrd="0" destOrd="0" presId="urn:microsoft.com/office/officeart/2018/2/layout/IconCircleList"/>
    <dgm:cxn modelId="{D1D3F2F8-39D3-4AD7-ADC8-14459B43DBA6}" srcId="{D1611676-F9D6-43A6-B651-55D1D5E0652B}" destId="{9418AD87-7B1B-486C-8913-9F49E2B1A69A}" srcOrd="6" destOrd="0" parTransId="{80B02025-1680-425F-B366-12EF1D9748C6}" sibTransId="{650859FD-CFEE-4265-93FE-561B315C92ED}"/>
    <dgm:cxn modelId="{4B23F78E-DD5B-4A26-B542-2764BD46DB1A}" type="presParOf" srcId="{275D0A00-4AAC-4365-BE08-4E92453EBD47}" destId="{3D9BF99F-901A-4DDC-876D-EF352B9B2440}" srcOrd="0" destOrd="0" presId="urn:microsoft.com/office/officeart/2018/2/layout/IconCircleList"/>
    <dgm:cxn modelId="{49490A20-3642-40CF-B897-BBD8B132160A}" type="presParOf" srcId="{3D9BF99F-901A-4DDC-876D-EF352B9B2440}" destId="{2A78B96B-6DA9-4C2B-88D9-DCBFABEAFA53}" srcOrd="0" destOrd="0" presId="urn:microsoft.com/office/officeart/2018/2/layout/IconCircleList"/>
    <dgm:cxn modelId="{DFBDC081-2423-48CF-9727-081EB2AE08C6}" type="presParOf" srcId="{2A78B96B-6DA9-4C2B-88D9-DCBFABEAFA53}" destId="{53F0263C-5497-4721-9C0E-E2376126BB7C}" srcOrd="0" destOrd="0" presId="urn:microsoft.com/office/officeart/2018/2/layout/IconCircleList"/>
    <dgm:cxn modelId="{080932D5-031A-43BD-A2B5-BBFCE5B345EB}" type="presParOf" srcId="{2A78B96B-6DA9-4C2B-88D9-DCBFABEAFA53}" destId="{3101C320-4C6C-428D-9B4E-21ADC2C6963F}" srcOrd="1" destOrd="0" presId="urn:microsoft.com/office/officeart/2018/2/layout/IconCircleList"/>
    <dgm:cxn modelId="{1403C499-9592-4260-96DE-530C2E369701}" type="presParOf" srcId="{2A78B96B-6DA9-4C2B-88D9-DCBFABEAFA53}" destId="{A5DA0570-73E9-4D7F-BCD8-BE2FBAF59E48}" srcOrd="2" destOrd="0" presId="urn:microsoft.com/office/officeart/2018/2/layout/IconCircleList"/>
    <dgm:cxn modelId="{F8FF1E7C-5B93-4E5E-A039-D95F16200FEA}" type="presParOf" srcId="{2A78B96B-6DA9-4C2B-88D9-DCBFABEAFA53}" destId="{2AA78C63-950C-4CB6-811D-321173F12316}" srcOrd="3" destOrd="0" presId="urn:microsoft.com/office/officeart/2018/2/layout/IconCircleList"/>
    <dgm:cxn modelId="{80430047-8C89-4AB8-908F-186E0A7ED9F5}" type="presParOf" srcId="{3D9BF99F-901A-4DDC-876D-EF352B9B2440}" destId="{F11321A3-3FBC-4AC9-BA9E-A3879B032AA7}" srcOrd="1" destOrd="0" presId="urn:microsoft.com/office/officeart/2018/2/layout/IconCircleList"/>
    <dgm:cxn modelId="{4E2238C2-61B2-4D76-A0C6-0AD4C0A3AB94}" type="presParOf" srcId="{3D9BF99F-901A-4DDC-876D-EF352B9B2440}" destId="{32574FC7-3359-4A88-AAA7-140509F55C22}" srcOrd="2" destOrd="0" presId="urn:microsoft.com/office/officeart/2018/2/layout/IconCircleList"/>
    <dgm:cxn modelId="{A1BA4364-77BA-47E2-84B6-7D3FED9E59B5}" type="presParOf" srcId="{32574FC7-3359-4A88-AAA7-140509F55C22}" destId="{D31FE7C2-4CAC-4FD8-90B7-E74938C20B33}" srcOrd="0" destOrd="0" presId="urn:microsoft.com/office/officeart/2018/2/layout/IconCircleList"/>
    <dgm:cxn modelId="{F613F02A-D257-474A-8990-A792F34BE224}" type="presParOf" srcId="{32574FC7-3359-4A88-AAA7-140509F55C22}" destId="{85FD18F9-AC07-4A32-9109-9290A8357264}" srcOrd="1" destOrd="0" presId="urn:microsoft.com/office/officeart/2018/2/layout/IconCircleList"/>
    <dgm:cxn modelId="{F52DBABB-A71B-4854-A2F4-F7D14327CA0E}" type="presParOf" srcId="{32574FC7-3359-4A88-AAA7-140509F55C22}" destId="{C90C9B6F-E85B-4ABC-960B-BCB5D32DD989}" srcOrd="2" destOrd="0" presId="urn:microsoft.com/office/officeart/2018/2/layout/IconCircleList"/>
    <dgm:cxn modelId="{20A28221-C590-469F-94D1-F662EFF50C2B}" type="presParOf" srcId="{32574FC7-3359-4A88-AAA7-140509F55C22}" destId="{2F05FF37-60F8-495F-9CE3-5AF762D02507}" srcOrd="3" destOrd="0" presId="urn:microsoft.com/office/officeart/2018/2/layout/IconCircleList"/>
    <dgm:cxn modelId="{0DD7C479-15F4-4011-B563-8F2CDE2C377C}" type="presParOf" srcId="{3D9BF99F-901A-4DDC-876D-EF352B9B2440}" destId="{388EFD68-24AC-4D11-B03A-1280C18D640F}" srcOrd="3" destOrd="0" presId="urn:microsoft.com/office/officeart/2018/2/layout/IconCircleList"/>
    <dgm:cxn modelId="{79E3D833-4292-4769-B01A-42547F7A60F9}" type="presParOf" srcId="{3D9BF99F-901A-4DDC-876D-EF352B9B2440}" destId="{75742B20-5329-4F36-B3B3-C1368C5CF1C5}" srcOrd="4" destOrd="0" presId="urn:microsoft.com/office/officeart/2018/2/layout/IconCircleList"/>
    <dgm:cxn modelId="{4D903136-284C-469B-ACE0-CE6038AEA320}" type="presParOf" srcId="{75742B20-5329-4F36-B3B3-C1368C5CF1C5}" destId="{2790BE34-B044-4A8D-B9D2-C0DAB5FD1AC5}" srcOrd="0" destOrd="0" presId="urn:microsoft.com/office/officeart/2018/2/layout/IconCircleList"/>
    <dgm:cxn modelId="{87B2A819-8B3B-4C18-8D4E-EF9B4684D4FB}" type="presParOf" srcId="{75742B20-5329-4F36-B3B3-C1368C5CF1C5}" destId="{D38567AF-2722-4FD5-8000-DE8A3F92979A}" srcOrd="1" destOrd="0" presId="urn:microsoft.com/office/officeart/2018/2/layout/IconCircleList"/>
    <dgm:cxn modelId="{1712A9B6-DC3F-4F8E-8ADE-1F3029EA90F7}" type="presParOf" srcId="{75742B20-5329-4F36-B3B3-C1368C5CF1C5}" destId="{7DC6C7AE-DF97-4BF8-8207-ABA2705D4FEC}" srcOrd="2" destOrd="0" presId="urn:microsoft.com/office/officeart/2018/2/layout/IconCircleList"/>
    <dgm:cxn modelId="{47A891A3-6096-4432-9411-C63BB9D379F1}" type="presParOf" srcId="{75742B20-5329-4F36-B3B3-C1368C5CF1C5}" destId="{8A574A3A-6B47-41B4-82AA-C59FFE61553D}" srcOrd="3" destOrd="0" presId="urn:microsoft.com/office/officeart/2018/2/layout/IconCircleList"/>
    <dgm:cxn modelId="{CC70712C-3BE0-43C6-ADF6-89685AE13E75}" type="presParOf" srcId="{3D9BF99F-901A-4DDC-876D-EF352B9B2440}" destId="{8C548718-6938-4291-94B2-7C7A3E90C9F9}" srcOrd="5" destOrd="0" presId="urn:microsoft.com/office/officeart/2018/2/layout/IconCircleList"/>
    <dgm:cxn modelId="{395CDAE7-066D-478C-8DF6-BDCDD9255B39}" type="presParOf" srcId="{3D9BF99F-901A-4DDC-876D-EF352B9B2440}" destId="{2D6E50FB-4A5D-4300-9856-1CFE8C7225C4}" srcOrd="6" destOrd="0" presId="urn:microsoft.com/office/officeart/2018/2/layout/IconCircleList"/>
    <dgm:cxn modelId="{D9DD05D8-54AB-47AF-A194-F0B51569FA36}" type="presParOf" srcId="{2D6E50FB-4A5D-4300-9856-1CFE8C7225C4}" destId="{430B1279-FB41-4BA8-B2B8-7D0563184C7E}" srcOrd="0" destOrd="0" presId="urn:microsoft.com/office/officeart/2018/2/layout/IconCircleList"/>
    <dgm:cxn modelId="{2793A149-FB46-4A1C-9AF7-0A86B5008212}" type="presParOf" srcId="{2D6E50FB-4A5D-4300-9856-1CFE8C7225C4}" destId="{BEF3B22F-8817-4EFD-8546-EF87BE73FBF3}" srcOrd="1" destOrd="0" presId="urn:microsoft.com/office/officeart/2018/2/layout/IconCircleList"/>
    <dgm:cxn modelId="{5526A485-7470-4821-8442-A2C5E02DAF19}" type="presParOf" srcId="{2D6E50FB-4A5D-4300-9856-1CFE8C7225C4}" destId="{E1B7D2C6-B7C5-409C-8907-6EE0ADCD1A10}" srcOrd="2" destOrd="0" presId="urn:microsoft.com/office/officeart/2018/2/layout/IconCircleList"/>
    <dgm:cxn modelId="{7DFD38AB-03B1-4969-91DB-22C9317CD418}" type="presParOf" srcId="{2D6E50FB-4A5D-4300-9856-1CFE8C7225C4}" destId="{FB7596CA-0BEE-44CF-BB32-9F419BD50817}" srcOrd="3" destOrd="0" presId="urn:microsoft.com/office/officeart/2018/2/layout/IconCircleList"/>
    <dgm:cxn modelId="{CFF88192-2922-4FC8-944C-19484800D08B}" type="presParOf" srcId="{3D9BF99F-901A-4DDC-876D-EF352B9B2440}" destId="{56C9407A-20EF-45E8-82BC-A2BA1F0A30D9}" srcOrd="7" destOrd="0" presId="urn:microsoft.com/office/officeart/2018/2/layout/IconCircleList"/>
    <dgm:cxn modelId="{1E062D2F-A589-493E-AF01-AA7ADF379920}" type="presParOf" srcId="{3D9BF99F-901A-4DDC-876D-EF352B9B2440}" destId="{244C6FA5-A993-4D78-A04A-182EAF2364A3}" srcOrd="8" destOrd="0" presId="urn:microsoft.com/office/officeart/2018/2/layout/IconCircleList"/>
    <dgm:cxn modelId="{95B176C0-E272-451D-8996-08D490886962}" type="presParOf" srcId="{244C6FA5-A993-4D78-A04A-182EAF2364A3}" destId="{B8E738A8-6B44-4C40-ACA8-36F3B9BD66FF}" srcOrd="0" destOrd="0" presId="urn:microsoft.com/office/officeart/2018/2/layout/IconCircleList"/>
    <dgm:cxn modelId="{2AAB87EE-2380-418C-A628-F175E32DA1C5}" type="presParOf" srcId="{244C6FA5-A993-4D78-A04A-182EAF2364A3}" destId="{3DA4930A-D077-4329-A4F8-5C56FABAE202}" srcOrd="1" destOrd="0" presId="urn:microsoft.com/office/officeart/2018/2/layout/IconCircleList"/>
    <dgm:cxn modelId="{924653F2-4BC1-4C7A-8D85-EB256D795500}" type="presParOf" srcId="{244C6FA5-A993-4D78-A04A-182EAF2364A3}" destId="{26BDCB1C-9D59-405F-B6E9-3342FFAE026F}" srcOrd="2" destOrd="0" presId="urn:microsoft.com/office/officeart/2018/2/layout/IconCircleList"/>
    <dgm:cxn modelId="{EFDD298A-E1D1-4B73-900D-971AEEC8F43E}" type="presParOf" srcId="{244C6FA5-A993-4D78-A04A-182EAF2364A3}" destId="{8F113F3B-6787-40FE-8DA1-E42F9FF9BED0}" srcOrd="3" destOrd="0" presId="urn:microsoft.com/office/officeart/2018/2/layout/IconCircleList"/>
    <dgm:cxn modelId="{DFC8D4B7-E0A4-4123-BEDC-D341A55FA55C}" type="presParOf" srcId="{3D9BF99F-901A-4DDC-876D-EF352B9B2440}" destId="{919B3190-22F4-40FF-A013-C361E0254031}" srcOrd="9" destOrd="0" presId="urn:microsoft.com/office/officeart/2018/2/layout/IconCircleList"/>
    <dgm:cxn modelId="{579D163E-5756-4C95-8456-E98A140B28DA}" type="presParOf" srcId="{3D9BF99F-901A-4DDC-876D-EF352B9B2440}" destId="{BADF7FCF-0FF5-41C3-B03D-4123D1ED2B11}" srcOrd="10" destOrd="0" presId="urn:microsoft.com/office/officeart/2018/2/layout/IconCircleList"/>
    <dgm:cxn modelId="{F2C21905-E640-4928-8FA3-068E23625C1E}" type="presParOf" srcId="{BADF7FCF-0FF5-41C3-B03D-4123D1ED2B11}" destId="{073EC36B-7ACD-4543-A71D-D0000A6373C9}" srcOrd="0" destOrd="0" presId="urn:microsoft.com/office/officeart/2018/2/layout/IconCircleList"/>
    <dgm:cxn modelId="{E19C87AB-565A-4FB2-AE20-F3E78AF4312F}" type="presParOf" srcId="{BADF7FCF-0FF5-41C3-B03D-4123D1ED2B11}" destId="{4C31C450-813E-4731-A319-971C76DC6164}" srcOrd="1" destOrd="0" presId="urn:microsoft.com/office/officeart/2018/2/layout/IconCircleList"/>
    <dgm:cxn modelId="{EF5EA7C4-7776-48D6-9D53-86BEB935EC83}" type="presParOf" srcId="{BADF7FCF-0FF5-41C3-B03D-4123D1ED2B11}" destId="{4FC7262F-E109-4BC4-A780-65667EE1BA9C}" srcOrd="2" destOrd="0" presId="urn:microsoft.com/office/officeart/2018/2/layout/IconCircleList"/>
    <dgm:cxn modelId="{0DA43B0F-80EB-43FE-A1F3-A2CF23C28D35}" type="presParOf" srcId="{BADF7FCF-0FF5-41C3-B03D-4123D1ED2B11}" destId="{D163498D-1E8A-4733-A924-0A80750F077C}" srcOrd="3" destOrd="0" presId="urn:microsoft.com/office/officeart/2018/2/layout/IconCircleList"/>
    <dgm:cxn modelId="{B0FD8993-1BBC-431C-A24B-3EEFD7949EAF}" type="presParOf" srcId="{3D9BF99F-901A-4DDC-876D-EF352B9B2440}" destId="{1B467439-C198-449E-AF75-76B9283F9AD3}" srcOrd="11" destOrd="0" presId="urn:microsoft.com/office/officeart/2018/2/layout/IconCircleList"/>
    <dgm:cxn modelId="{8BC7A825-249E-4F02-8FC3-C576C25D31C9}" type="presParOf" srcId="{3D9BF99F-901A-4DDC-876D-EF352B9B2440}" destId="{162B6491-A5E7-4A8C-A1B9-FB3972C94D16}" srcOrd="12" destOrd="0" presId="urn:microsoft.com/office/officeart/2018/2/layout/IconCircleList"/>
    <dgm:cxn modelId="{1CA894CB-8B8B-415B-BA50-43AB0661DDB0}" type="presParOf" srcId="{162B6491-A5E7-4A8C-A1B9-FB3972C94D16}" destId="{CDBCE09F-F06C-4C1F-9D20-4C81B0E042AE}" srcOrd="0" destOrd="0" presId="urn:microsoft.com/office/officeart/2018/2/layout/IconCircleList"/>
    <dgm:cxn modelId="{81898EA6-3830-4427-B1CF-5349EFBCC4ED}" type="presParOf" srcId="{162B6491-A5E7-4A8C-A1B9-FB3972C94D16}" destId="{E9152A7E-A2F8-41D3-9800-D6BD3AA8B3E4}" srcOrd="1" destOrd="0" presId="urn:microsoft.com/office/officeart/2018/2/layout/IconCircleList"/>
    <dgm:cxn modelId="{C75EABC7-B851-4BEF-A4FB-23578946C2AA}" type="presParOf" srcId="{162B6491-A5E7-4A8C-A1B9-FB3972C94D16}" destId="{F0172BB0-DFAA-49D3-BF1D-14A0F9855188}" srcOrd="2" destOrd="0" presId="urn:microsoft.com/office/officeart/2018/2/layout/IconCircleList"/>
    <dgm:cxn modelId="{11A78AC0-D056-4885-84A2-ACA117EE767E}" type="presParOf" srcId="{162B6491-A5E7-4A8C-A1B9-FB3972C94D16}" destId="{373E4AF0-7414-4520-B0B7-46813CF9D761}" srcOrd="3" destOrd="0" presId="urn:microsoft.com/office/officeart/2018/2/layout/IconCircleList"/>
    <dgm:cxn modelId="{D2BE0E88-3CAB-48E4-8B57-A326EC4BDC2A}" type="presParOf" srcId="{3D9BF99F-901A-4DDC-876D-EF352B9B2440}" destId="{B092B522-9E96-4289-AECB-D2712B8DB86A}" srcOrd="13" destOrd="0" presId="urn:microsoft.com/office/officeart/2018/2/layout/IconCircleList"/>
    <dgm:cxn modelId="{3B364D30-F532-4D8A-BBD8-5A5FE2E64FF3}" type="presParOf" srcId="{3D9BF99F-901A-4DDC-876D-EF352B9B2440}" destId="{5F42B8D1-DD8E-4A30-81F7-5271741827BE}" srcOrd="14" destOrd="0" presId="urn:microsoft.com/office/officeart/2018/2/layout/IconCircleList"/>
    <dgm:cxn modelId="{17BDDAF3-F8F5-4A75-BBAA-1A3331CCE596}" type="presParOf" srcId="{5F42B8D1-DD8E-4A30-81F7-5271741827BE}" destId="{D53D70BE-BE2D-4DB8-92EE-099367DA4094}" srcOrd="0" destOrd="0" presId="urn:microsoft.com/office/officeart/2018/2/layout/IconCircleList"/>
    <dgm:cxn modelId="{ABB6A184-7CF3-4D39-B70A-EE7D2103DBD5}" type="presParOf" srcId="{5F42B8D1-DD8E-4A30-81F7-5271741827BE}" destId="{70FE5C36-055F-4A79-B654-D89249D3C1DF}" srcOrd="1" destOrd="0" presId="urn:microsoft.com/office/officeart/2018/2/layout/IconCircleList"/>
    <dgm:cxn modelId="{177E3BA8-15A0-4B5C-BCB5-B5B697AD31A1}" type="presParOf" srcId="{5F42B8D1-DD8E-4A30-81F7-5271741827BE}" destId="{0453F0EE-8767-45DE-B225-430B1B444AF9}" srcOrd="2" destOrd="0" presId="urn:microsoft.com/office/officeart/2018/2/layout/IconCircleList"/>
    <dgm:cxn modelId="{CDDBA2A7-F37D-4A0F-A57F-F7DADC4B1237}" type="presParOf" srcId="{5F42B8D1-DD8E-4A30-81F7-5271741827BE}" destId="{C6CDB837-B145-4C7F-824B-401AA16D28F7}" srcOrd="3" destOrd="0" presId="urn:microsoft.com/office/officeart/2018/2/layout/IconCircleList"/>
  </dgm:cxnLst>
  <dgm:bg/>
  <dgm:whole>
    <a:ln>
      <a:solidFill>
        <a:srgbClr val="FFC000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2D75D45-A904-46CD-9CD5-F79FD12BBDC2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A326AA-2909-4249-9F46-82C47F3A73D2}">
      <dgm:prSet custT="1"/>
      <dgm:spPr>
        <a:xfrm>
          <a:off x="75995" y="2132603"/>
          <a:ext cx="2398905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</a:pPr>
          <a:r>
            <a:rPr lang="en-GB" sz="14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anaging and enhancing societal engagement and impact</a:t>
          </a:r>
          <a:endParaRPr lang="en-US" sz="1400" b="1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7C0F8A94-E067-48F8-B302-8501B65E57FA}" type="parTrans" cxnId="{DE971577-AF34-49C3-AE4A-5E78522DC442}">
      <dgm:prSet/>
      <dgm:spPr/>
      <dgm:t>
        <a:bodyPr/>
        <a:lstStyle/>
        <a:p>
          <a:endParaRPr lang="en-US" sz="1200"/>
        </a:p>
      </dgm:t>
    </dgm:pt>
    <dgm:pt modelId="{968F72BB-CDBF-4512-A129-6FA3CEEEDAA2}" type="sibTrans" cxnId="{DE971577-AF34-49C3-AE4A-5E78522DC442}">
      <dgm:prSet/>
      <dgm:spPr/>
      <dgm:t>
        <a:bodyPr/>
        <a:lstStyle/>
        <a:p>
          <a:endParaRPr lang="en-US" sz="1200"/>
        </a:p>
      </dgm:t>
    </dgm:pt>
    <dgm:pt modelId="{7176C225-8218-4650-87D2-2480147D07DC}">
      <dgm:prSet custT="1"/>
      <dgm:spPr>
        <a:xfrm>
          <a:off x="2894709" y="2132603"/>
          <a:ext cx="2398905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</a:pPr>
          <a:r>
            <a:rPr lang="en-GB" sz="14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ocietal impact of RDI and artistic activities</a:t>
          </a:r>
        </a:p>
      </dgm:t>
    </dgm:pt>
    <dgm:pt modelId="{AE8799C3-4012-4075-941B-16FFF54EAE1E}" type="parTrans" cxnId="{08853C5F-95FA-4232-83DE-4B4CBF49E73D}">
      <dgm:prSet/>
      <dgm:spPr/>
      <dgm:t>
        <a:bodyPr/>
        <a:lstStyle/>
        <a:p>
          <a:endParaRPr lang="fi-FI" sz="1200"/>
        </a:p>
      </dgm:t>
    </dgm:pt>
    <dgm:pt modelId="{C153BC7B-D087-4B0D-B34D-7A1EC08021C5}" type="sibTrans" cxnId="{08853C5F-95FA-4232-83DE-4B4CBF49E73D}">
      <dgm:prSet/>
      <dgm:spPr/>
      <dgm:t>
        <a:bodyPr/>
        <a:lstStyle/>
        <a:p>
          <a:endParaRPr lang="fi-FI" sz="1200"/>
        </a:p>
      </dgm:t>
    </dgm:pt>
    <dgm:pt modelId="{29907153-96DA-4ECF-A7F5-1AE390C66336}">
      <dgm:prSet custT="1"/>
      <dgm:spPr>
        <a:xfrm>
          <a:off x="5713423" y="2132603"/>
          <a:ext cx="2398905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</a:pPr>
          <a:r>
            <a:rPr lang="en-GB" sz="12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Operational culture encourages innovation and experimental activities </a:t>
          </a:r>
        </a:p>
      </dgm:t>
    </dgm:pt>
    <dgm:pt modelId="{E3CC3273-EBA5-4B74-AE4C-E40B1CDD0B9D}" type="parTrans" cxnId="{D8F858C6-551B-4868-90C9-36E9CF65B212}">
      <dgm:prSet/>
      <dgm:spPr/>
      <dgm:t>
        <a:bodyPr/>
        <a:lstStyle/>
        <a:p>
          <a:endParaRPr lang="fi-FI" sz="1200"/>
        </a:p>
      </dgm:t>
    </dgm:pt>
    <dgm:pt modelId="{4FE5CDEF-E5BC-42B3-8FD8-0FDB8F655587}" type="sibTrans" cxnId="{D8F858C6-551B-4868-90C9-36E9CF65B212}">
      <dgm:prSet/>
      <dgm:spPr/>
      <dgm:t>
        <a:bodyPr/>
        <a:lstStyle/>
        <a:p>
          <a:endParaRPr lang="fi-FI" sz="1200"/>
        </a:p>
      </dgm:t>
    </dgm:pt>
    <dgm:pt modelId="{229BE6A1-7209-4724-BF75-D14D7EE3A991}" type="pres">
      <dgm:prSet presAssocID="{C2D75D45-A904-46CD-9CD5-F79FD12BBDC2}" presName="root" presStyleCnt="0">
        <dgm:presLayoutVars>
          <dgm:dir/>
          <dgm:resizeHandles val="exact"/>
        </dgm:presLayoutVars>
      </dgm:prSet>
      <dgm:spPr/>
    </dgm:pt>
    <dgm:pt modelId="{1A83A895-9F08-4B6B-9661-30678D79E6BD}" type="pres">
      <dgm:prSet presAssocID="{A5A326AA-2909-4249-9F46-82C47F3A73D2}" presName="compNode" presStyleCnt="0"/>
      <dgm:spPr/>
    </dgm:pt>
    <dgm:pt modelId="{9B4FF36A-10A2-419B-B435-D973E597B52B}" type="pres">
      <dgm:prSet presAssocID="{A5A326AA-2909-4249-9F46-82C47F3A73D2}" presName="iconRect" presStyleLbl="node1" presStyleIdx="0" presStyleCnt="3"/>
      <dgm:spPr>
        <a:xfrm>
          <a:off x="735694" y="735428"/>
          <a:ext cx="1079507" cy="107950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Maalitaulu"/>
        </a:ext>
      </dgm:extLst>
    </dgm:pt>
    <dgm:pt modelId="{EB056213-4E87-473D-9D70-F8A14FE64746}" type="pres">
      <dgm:prSet presAssocID="{A5A326AA-2909-4249-9F46-82C47F3A73D2}" presName="spaceRect" presStyleCnt="0"/>
      <dgm:spPr/>
    </dgm:pt>
    <dgm:pt modelId="{2D3F8D00-7F80-4FF8-9692-4B8ADC70CCBF}" type="pres">
      <dgm:prSet presAssocID="{A5A326AA-2909-4249-9F46-82C47F3A73D2}" presName="textRect" presStyleLbl="revTx" presStyleIdx="0" presStyleCnt="3">
        <dgm:presLayoutVars>
          <dgm:chMax val="1"/>
          <dgm:chPref val="1"/>
        </dgm:presLayoutVars>
      </dgm:prSet>
      <dgm:spPr/>
    </dgm:pt>
    <dgm:pt modelId="{ABC0E27B-8401-414B-9212-8174B643E28A}" type="pres">
      <dgm:prSet presAssocID="{968F72BB-CDBF-4512-A129-6FA3CEEEDAA2}" presName="sibTrans" presStyleCnt="0"/>
      <dgm:spPr/>
    </dgm:pt>
    <dgm:pt modelId="{C3D88546-34E4-4C24-837C-C37397A9F7CB}" type="pres">
      <dgm:prSet presAssocID="{7176C225-8218-4650-87D2-2480147D07DC}" presName="compNode" presStyleCnt="0"/>
      <dgm:spPr/>
    </dgm:pt>
    <dgm:pt modelId="{F1DE985E-E307-490F-BB37-7B68A31F465F}" type="pres">
      <dgm:prSet presAssocID="{7176C225-8218-4650-87D2-2480147D07DC}" presName="iconRect" presStyleLbl="node1" presStyleIdx="1" presStyleCnt="3"/>
      <dgm:spPr>
        <a:xfrm>
          <a:off x="3554408" y="735428"/>
          <a:ext cx="1079507" cy="107950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Kaupunki tasaisella täytöllä"/>
        </a:ext>
      </dgm:extLst>
    </dgm:pt>
    <dgm:pt modelId="{9E2EAC65-0B6C-4A85-A10D-31360E245E54}" type="pres">
      <dgm:prSet presAssocID="{7176C225-8218-4650-87D2-2480147D07DC}" presName="spaceRect" presStyleCnt="0"/>
      <dgm:spPr/>
    </dgm:pt>
    <dgm:pt modelId="{C0B25397-79BB-4ADE-993B-85F69751FC20}" type="pres">
      <dgm:prSet presAssocID="{7176C225-8218-4650-87D2-2480147D07DC}" presName="textRect" presStyleLbl="revTx" presStyleIdx="1" presStyleCnt="3">
        <dgm:presLayoutVars>
          <dgm:chMax val="1"/>
          <dgm:chPref val="1"/>
        </dgm:presLayoutVars>
      </dgm:prSet>
      <dgm:spPr/>
    </dgm:pt>
    <dgm:pt modelId="{CD81FF51-DFC1-4F6F-9B0F-145D156D30CF}" type="pres">
      <dgm:prSet presAssocID="{C153BC7B-D087-4B0D-B34D-7A1EC08021C5}" presName="sibTrans" presStyleCnt="0"/>
      <dgm:spPr/>
    </dgm:pt>
    <dgm:pt modelId="{12ABB3C1-0362-4A52-9E75-602175247D51}" type="pres">
      <dgm:prSet presAssocID="{29907153-96DA-4ECF-A7F5-1AE390C66336}" presName="compNode" presStyleCnt="0"/>
      <dgm:spPr/>
    </dgm:pt>
    <dgm:pt modelId="{1569F5F4-C107-466E-9B45-66B14C005C04}" type="pres">
      <dgm:prSet presAssocID="{29907153-96DA-4ECF-A7F5-1AE390C66336}" presName="iconRect" presStyleLbl="node1" presStyleIdx="2" presStyleCnt="3"/>
      <dgm:spPr>
        <a:xfrm>
          <a:off x="6373122" y="735428"/>
          <a:ext cx="1079507" cy="107950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Asiakaspalaute tasaisella täytöllä"/>
        </a:ext>
      </dgm:extLst>
    </dgm:pt>
    <dgm:pt modelId="{8D8222D0-A82E-4B7A-98F4-449B42022018}" type="pres">
      <dgm:prSet presAssocID="{29907153-96DA-4ECF-A7F5-1AE390C66336}" presName="spaceRect" presStyleCnt="0"/>
      <dgm:spPr/>
    </dgm:pt>
    <dgm:pt modelId="{96374345-A292-4E01-9941-67F23B7B9F96}" type="pres">
      <dgm:prSet presAssocID="{29907153-96DA-4ECF-A7F5-1AE390C66336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08853C5F-95FA-4232-83DE-4B4CBF49E73D}" srcId="{C2D75D45-A904-46CD-9CD5-F79FD12BBDC2}" destId="{7176C225-8218-4650-87D2-2480147D07DC}" srcOrd="1" destOrd="0" parTransId="{AE8799C3-4012-4075-941B-16FFF54EAE1E}" sibTransId="{C153BC7B-D087-4B0D-B34D-7A1EC08021C5}"/>
    <dgm:cxn modelId="{88A2BD67-F8DA-49D0-BAFD-47F315EF1DC1}" type="presOf" srcId="{7176C225-8218-4650-87D2-2480147D07DC}" destId="{C0B25397-79BB-4ADE-993B-85F69751FC20}" srcOrd="0" destOrd="0" presId="urn:microsoft.com/office/officeart/2018/2/layout/IconLabelList"/>
    <dgm:cxn modelId="{DE971577-AF34-49C3-AE4A-5E78522DC442}" srcId="{C2D75D45-A904-46CD-9CD5-F79FD12BBDC2}" destId="{A5A326AA-2909-4249-9F46-82C47F3A73D2}" srcOrd="0" destOrd="0" parTransId="{7C0F8A94-E067-48F8-B302-8501B65E57FA}" sibTransId="{968F72BB-CDBF-4512-A129-6FA3CEEEDAA2}"/>
    <dgm:cxn modelId="{32BFC95A-2F90-4C91-AD26-B1844301C05E}" type="presOf" srcId="{29907153-96DA-4ECF-A7F5-1AE390C66336}" destId="{96374345-A292-4E01-9941-67F23B7B9F96}" srcOrd="0" destOrd="0" presId="urn:microsoft.com/office/officeart/2018/2/layout/IconLabelList"/>
    <dgm:cxn modelId="{4879C499-EC7D-4909-8EF9-259C23C14AFE}" type="presOf" srcId="{A5A326AA-2909-4249-9F46-82C47F3A73D2}" destId="{2D3F8D00-7F80-4FF8-9692-4B8ADC70CCBF}" srcOrd="0" destOrd="0" presId="urn:microsoft.com/office/officeart/2018/2/layout/IconLabelList"/>
    <dgm:cxn modelId="{D8F858C6-551B-4868-90C9-36E9CF65B212}" srcId="{C2D75D45-A904-46CD-9CD5-F79FD12BBDC2}" destId="{29907153-96DA-4ECF-A7F5-1AE390C66336}" srcOrd="2" destOrd="0" parTransId="{E3CC3273-EBA5-4B74-AE4C-E40B1CDD0B9D}" sibTransId="{4FE5CDEF-E5BC-42B3-8FD8-0FDB8F655587}"/>
    <dgm:cxn modelId="{8B9F54D2-ED5E-4113-B1C2-43B23DB1A1DC}" type="presOf" srcId="{C2D75D45-A904-46CD-9CD5-F79FD12BBDC2}" destId="{229BE6A1-7209-4724-BF75-D14D7EE3A991}" srcOrd="0" destOrd="0" presId="urn:microsoft.com/office/officeart/2018/2/layout/IconLabelList"/>
    <dgm:cxn modelId="{3D0E6B67-53D6-4EBB-A62B-8C6C3EF5977D}" type="presParOf" srcId="{229BE6A1-7209-4724-BF75-D14D7EE3A991}" destId="{1A83A895-9F08-4B6B-9661-30678D79E6BD}" srcOrd="0" destOrd="0" presId="urn:microsoft.com/office/officeart/2018/2/layout/IconLabelList"/>
    <dgm:cxn modelId="{4E8FA12B-4A83-4AC3-BD8B-2FB775D3FD9A}" type="presParOf" srcId="{1A83A895-9F08-4B6B-9661-30678D79E6BD}" destId="{9B4FF36A-10A2-419B-B435-D973E597B52B}" srcOrd="0" destOrd="0" presId="urn:microsoft.com/office/officeart/2018/2/layout/IconLabelList"/>
    <dgm:cxn modelId="{A948C1E4-2ACB-4D39-9428-1DBEABA38638}" type="presParOf" srcId="{1A83A895-9F08-4B6B-9661-30678D79E6BD}" destId="{EB056213-4E87-473D-9D70-F8A14FE64746}" srcOrd="1" destOrd="0" presId="urn:microsoft.com/office/officeart/2018/2/layout/IconLabelList"/>
    <dgm:cxn modelId="{C201551C-6C3A-4E73-850B-2D139AA9C802}" type="presParOf" srcId="{1A83A895-9F08-4B6B-9661-30678D79E6BD}" destId="{2D3F8D00-7F80-4FF8-9692-4B8ADC70CCBF}" srcOrd="2" destOrd="0" presId="urn:microsoft.com/office/officeart/2018/2/layout/IconLabelList"/>
    <dgm:cxn modelId="{FB61D333-3382-419A-B950-BF33D1551151}" type="presParOf" srcId="{229BE6A1-7209-4724-BF75-D14D7EE3A991}" destId="{ABC0E27B-8401-414B-9212-8174B643E28A}" srcOrd="1" destOrd="0" presId="urn:microsoft.com/office/officeart/2018/2/layout/IconLabelList"/>
    <dgm:cxn modelId="{C954D9A0-DAF8-4E09-ACF9-58E1809C22FD}" type="presParOf" srcId="{229BE6A1-7209-4724-BF75-D14D7EE3A991}" destId="{C3D88546-34E4-4C24-837C-C37397A9F7CB}" srcOrd="2" destOrd="0" presId="urn:microsoft.com/office/officeart/2018/2/layout/IconLabelList"/>
    <dgm:cxn modelId="{29B89052-FD2D-429D-9D2E-FCC57BB2BA52}" type="presParOf" srcId="{C3D88546-34E4-4C24-837C-C37397A9F7CB}" destId="{F1DE985E-E307-490F-BB37-7B68A31F465F}" srcOrd="0" destOrd="0" presId="urn:microsoft.com/office/officeart/2018/2/layout/IconLabelList"/>
    <dgm:cxn modelId="{602A3878-8DA9-45DE-B1D4-979D91378282}" type="presParOf" srcId="{C3D88546-34E4-4C24-837C-C37397A9F7CB}" destId="{9E2EAC65-0B6C-4A85-A10D-31360E245E54}" srcOrd="1" destOrd="0" presId="urn:microsoft.com/office/officeart/2018/2/layout/IconLabelList"/>
    <dgm:cxn modelId="{D65322B5-89A8-469F-8B73-490CF7D11D17}" type="presParOf" srcId="{C3D88546-34E4-4C24-837C-C37397A9F7CB}" destId="{C0B25397-79BB-4ADE-993B-85F69751FC20}" srcOrd="2" destOrd="0" presId="urn:microsoft.com/office/officeart/2018/2/layout/IconLabelList"/>
    <dgm:cxn modelId="{44A9596C-0ECE-4645-AAC7-733D5B000B52}" type="presParOf" srcId="{229BE6A1-7209-4724-BF75-D14D7EE3A991}" destId="{CD81FF51-DFC1-4F6F-9B0F-145D156D30CF}" srcOrd="3" destOrd="0" presId="urn:microsoft.com/office/officeart/2018/2/layout/IconLabelList"/>
    <dgm:cxn modelId="{D7F72809-394D-4768-A76D-F755B1149E7A}" type="presParOf" srcId="{229BE6A1-7209-4724-BF75-D14D7EE3A991}" destId="{12ABB3C1-0362-4A52-9E75-602175247D51}" srcOrd="4" destOrd="0" presId="urn:microsoft.com/office/officeart/2018/2/layout/IconLabelList"/>
    <dgm:cxn modelId="{6CAEF092-4CEC-4E0E-AD97-730CCAFAE15F}" type="presParOf" srcId="{12ABB3C1-0362-4A52-9E75-602175247D51}" destId="{1569F5F4-C107-466E-9B45-66B14C005C04}" srcOrd="0" destOrd="0" presId="urn:microsoft.com/office/officeart/2018/2/layout/IconLabelList"/>
    <dgm:cxn modelId="{CAC6CCEA-AC58-43FC-B524-4B47F1410B60}" type="presParOf" srcId="{12ABB3C1-0362-4A52-9E75-602175247D51}" destId="{8D8222D0-A82E-4B7A-98F4-449B42022018}" srcOrd="1" destOrd="0" presId="urn:microsoft.com/office/officeart/2018/2/layout/IconLabelList"/>
    <dgm:cxn modelId="{585D818D-2881-457C-9241-237C44CF2FE4}" type="presParOf" srcId="{12ABB3C1-0362-4A52-9E75-602175247D51}" destId="{96374345-A292-4E01-9941-67F23B7B9F96}" srcOrd="2" destOrd="0" presId="urn:microsoft.com/office/officeart/2018/2/layout/IconLabelList"/>
  </dgm:cxnLst>
  <dgm:bg/>
  <dgm:whole>
    <a:ln>
      <a:solidFill>
        <a:srgbClr val="FFC000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2D75D45-A904-46CD-9CD5-F79FD12BBDC2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A326AA-2909-4249-9F46-82C47F3A73D2}">
      <dgm:prSet custT="1"/>
      <dgm:spPr>
        <a:xfrm>
          <a:off x="75995" y="2132603"/>
          <a:ext cx="2398905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</a:pPr>
          <a:r>
            <a:rPr lang="en-US" sz="14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sing the quality system</a:t>
          </a:r>
          <a:br>
            <a:rPr lang="en-US" sz="14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14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in strategic management</a:t>
          </a:r>
          <a:endParaRPr lang="en-US" sz="14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7C0F8A94-E067-48F8-B302-8501B65E57FA}" type="parTrans" cxnId="{DE971577-AF34-49C3-AE4A-5E78522DC442}">
      <dgm:prSet/>
      <dgm:spPr/>
      <dgm:t>
        <a:bodyPr/>
        <a:lstStyle/>
        <a:p>
          <a:endParaRPr lang="en-US" sz="1400"/>
        </a:p>
      </dgm:t>
    </dgm:pt>
    <dgm:pt modelId="{968F72BB-CDBF-4512-A129-6FA3CEEEDAA2}" type="sibTrans" cxnId="{DE971577-AF34-49C3-AE4A-5E78522DC442}">
      <dgm:prSet/>
      <dgm:spPr/>
      <dgm:t>
        <a:bodyPr/>
        <a:lstStyle/>
        <a:p>
          <a:endParaRPr lang="en-US" sz="1400"/>
        </a:p>
      </dgm:t>
    </dgm:pt>
    <dgm:pt modelId="{926DED70-F489-4800-A00F-F7E23585A9AF}">
      <dgm:prSet custT="1"/>
      <dgm:spPr>
        <a:xfrm>
          <a:off x="2894709" y="2132603"/>
          <a:ext cx="2398905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</a:pPr>
          <a: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upporting the </a:t>
          </a:r>
          <a:b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competence development </a:t>
          </a:r>
          <a:b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nd well-being of the staff</a:t>
          </a:r>
          <a:endParaRPr lang="en-US" sz="14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14574A74-2A26-475E-A8EB-326503AED447}" type="parTrans" cxnId="{95E50B8E-FDE5-4D5C-8E68-9CF0830F99C5}">
      <dgm:prSet/>
      <dgm:spPr/>
      <dgm:t>
        <a:bodyPr/>
        <a:lstStyle/>
        <a:p>
          <a:endParaRPr lang="en-US" sz="1400"/>
        </a:p>
      </dgm:t>
    </dgm:pt>
    <dgm:pt modelId="{532D4F0E-0018-4D93-9FB0-86825B072806}" type="sibTrans" cxnId="{95E50B8E-FDE5-4D5C-8E68-9CF0830F99C5}">
      <dgm:prSet/>
      <dgm:spPr/>
      <dgm:t>
        <a:bodyPr/>
        <a:lstStyle/>
        <a:p>
          <a:endParaRPr lang="en-US" sz="1400"/>
        </a:p>
      </dgm:t>
    </dgm:pt>
    <dgm:pt modelId="{2F42D4E3-66A6-46B7-9A8C-FFEC2A59D0F4}">
      <dgm:prSet custT="1"/>
      <dgm:spPr>
        <a:xfrm>
          <a:off x="5713423" y="2132603"/>
          <a:ext cx="2398905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</a:pPr>
          <a:r>
            <a:rPr lang="en-US" sz="14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unctionality and development of the quality system</a:t>
          </a:r>
          <a:endParaRPr lang="en-US" sz="14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BD1F00DF-FF2E-4114-9B32-4DF045487A6F}" type="parTrans" cxnId="{DDE426A9-F283-43EC-9241-E12FD7EF5172}">
      <dgm:prSet/>
      <dgm:spPr/>
      <dgm:t>
        <a:bodyPr/>
        <a:lstStyle/>
        <a:p>
          <a:endParaRPr lang="en-US" sz="1400"/>
        </a:p>
      </dgm:t>
    </dgm:pt>
    <dgm:pt modelId="{FBAB2EF1-6F1F-4220-899E-0A78C40DD795}" type="sibTrans" cxnId="{DDE426A9-F283-43EC-9241-E12FD7EF5172}">
      <dgm:prSet/>
      <dgm:spPr/>
      <dgm:t>
        <a:bodyPr/>
        <a:lstStyle/>
        <a:p>
          <a:endParaRPr lang="en-US" sz="1400"/>
        </a:p>
      </dgm:t>
    </dgm:pt>
    <dgm:pt modelId="{229BE6A1-7209-4724-BF75-D14D7EE3A991}" type="pres">
      <dgm:prSet presAssocID="{C2D75D45-A904-46CD-9CD5-F79FD12BBDC2}" presName="root" presStyleCnt="0">
        <dgm:presLayoutVars>
          <dgm:dir/>
          <dgm:resizeHandles val="exact"/>
        </dgm:presLayoutVars>
      </dgm:prSet>
      <dgm:spPr/>
    </dgm:pt>
    <dgm:pt modelId="{1A83A895-9F08-4B6B-9661-30678D79E6BD}" type="pres">
      <dgm:prSet presAssocID="{A5A326AA-2909-4249-9F46-82C47F3A73D2}" presName="compNode" presStyleCnt="0"/>
      <dgm:spPr/>
    </dgm:pt>
    <dgm:pt modelId="{9B4FF36A-10A2-419B-B435-D973E597B52B}" type="pres">
      <dgm:prSet presAssocID="{A5A326AA-2909-4249-9F46-82C47F3A73D2}" presName="iconRect" presStyleLbl="node1" presStyleIdx="0" presStyleCnt="3"/>
      <dgm:spPr>
        <a:xfrm>
          <a:off x="735694" y="735428"/>
          <a:ext cx="1079507" cy="107950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Maalitaulu"/>
        </a:ext>
      </dgm:extLst>
    </dgm:pt>
    <dgm:pt modelId="{EB056213-4E87-473D-9D70-F8A14FE64746}" type="pres">
      <dgm:prSet presAssocID="{A5A326AA-2909-4249-9F46-82C47F3A73D2}" presName="spaceRect" presStyleCnt="0"/>
      <dgm:spPr/>
    </dgm:pt>
    <dgm:pt modelId="{2D3F8D00-7F80-4FF8-9692-4B8ADC70CCBF}" type="pres">
      <dgm:prSet presAssocID="{A5A326AA-2909-4249-9F46-82C47F3A73D2}" presName="textRect" presStyleLbl="revTx" presStyleIdx="0" presStyleCnt="3">
        <dgm:presLayoutVars>
          <dgm:chMax val="1"/>
          <dgm:chPref val="1"/>
        </dgm:presLayoutVars>
      </dgm:prSet>
      <dgm:spPr/>
    </dgm:pt>
    <dgm:pt modelId="{ABC0E27B-8401-414B-9212-8174B643E28A}" type="pres">
      <dgm:prSet presAssocID="{968F72BB-CDBF-4512-A129-6FA3CEEEDAA2}" presName="sibTrans" presStyleCnt="0"/>
      <dgm:spPr/>
    </dgm:pt>
    <dgm:pt modelId="{10D56DC7-7F30-4C33-8D2F-3B245BF98E8B}" type="pres">
      <dgm:prSet presAssocID="{926DED70-F489-4800-A00F-F7E23585A9AF}" presName="compNode" presStyleCnt="0"/>
      <dgm:spPr/>
    </dgm:pt>
    <dgm:pt modelId="{479807AC-8B0F-4F67-8490-8A0FF853F18E}" type="pres">
      <dgm:prSet presAssocID="{926DED70-F489-4800-A00F-F7E23585A9AF}" presName="iconRect" presStyleLbl="node1" presStyleIdx="1" presStyleCnt="3"/>
      <dgm:spPr>
        <a:xfrm>
          <a:off x="3554408" y="735428"/>
          <a:ext cx="1079507" cy="107950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Kirjat"/>
        </a:ext>
      </dgm:extLst>
    </dgm:pt>
    <dgm:pt modelId="{F62653AC-E643-49B6-BF79-D58184AFEDCD}" type="pres">
      <dgm:prSet presAssocID="{926DED70-F489-4800-A00F-F7E23585A9AF}" presName="spaceRect" presStyleCnt="0"/>
      <dgm:spPr/>
    </dgm:pt>
    <dgm:pt modelId="{776280F0-0F0A-416C-9C07-CEF65ED199E5}" type="pres">
      <dgm:prSet presAssocID="{926DED70-F489-4800-A00F-F7E23585A9AF}" presName="textRect" presStyleLbl="revTx" presStyleIdx="1" presStyleCnt="3">
        <dgm:presLayoutVars>
          <dgm:chMax val="1"/>
          <dgm:chPref val="1"/>
        </dgm:presLayoutVars>
      </dgm:prSet>
      <dgm:spPr/>
    </dgm:pt>
    <dgm:pt modelId="{C15E1CD1-0E15-4A32-AF4F-E6DADCCED731}" type="pres">
      <dgm:prSet presAssocID="{532D4F0E-0018-4D93-9FB0-86825B072806}" presName="sibTrans" presStyleCnt="0"/>
      <dgm:spPr/>
    </dgm:pt>
    <dgm:pt modelId="{804189DD-705B-47DB-863B-73E705750E6B}" type="pres">
      <dgm:prSet presAssocID="{2F42D4E3-66A6-46B7-9A8C-FFEC2A59D0F4}" presName="compNode" presStyleCnt="0"/>
      <dgm:spPr/>
    </dgm:pt>
    <dgm:pt modelId="{9837675D-5768-42F6-B6FB-94D0E5AC1EDD}" type="pres">
      <dgm:prSet presAssocID="{2F42D4E3-66A6-46B7-9A8C-FFEC2A59D0F4}" presName="iconRect" presStyleLbl="node1" presStyleIdx="2" presStyleCnt="3"/>
      <dgm:spPr>
        <a:xfrm>
          <a:off x="6373122" y="735428"/>
          <a:ext cx="1079507" cy="107950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Hammasrattaat"/>
        </a:ext>
      </dgm:extLst>
    </dgm:pt>
    <dgm:pt modelId="{061802AA-0860-4FA5-BDDC-CF2BC5F3382A}" type="pres">
      <dgm:prSet presAssocID="{2F42D4E3-66A6-46B7-9A8C-FFEC2A59D0F4}" presName="spaceRect" presStyleCnt="0"/>
      <dgm:spPr/>
    </dgm:pt>
    <dgm:pt modelId="{453F8D44-A577-4847-B523-A0D504F49A36}" type="pres">
      <dgm:prSet presAssocID="{2F42D4E3-66A6-46B7-9A8C-FFEC2A59D0F4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0284541C-D811-49F5-AC55-CEA1916F4076}" type="presOf" srcId="{926DED70-F489-4800-A00F-F7E23585A9AF}" destId="{776280F0-0F0A-416C-9C07-CEF65ED199E5}" srcOrd="0" destOrd="0" presId="urn:microsoft.com/office/officeart/2018/2/layout/IconLabelList"/>
    <dgm:cxn modelId="{DE971577-AF34-49C3-AE4A-5E78522DC442}" srcId="{C2D75D45-A904-46CD-9CD5-F79FD12BBDC2}" destId="{A5A326AA-2909-4249-9F46-82C47F3A73D2}" srcOrd="0" destOrd="0" parTransId="{7C0F8A94-E067-48F8-B302-8501B65E57FA}" sibTransId="{968F72BB-CDBF-4512-A129-6FA3CEEEDAA2}"/>
    <dgm:cxn modelId="{95E50B8E-FDE5-4D5C-8E68-9CF0830F99C5}" srcId="{C2D75D45-A904-46CD-9CD5-F79FD12BBDC2}" destId="{926DED70-F489-4800-A00F-F7E23585A9AF}" srcOrd="1" destOrd="0" parTransId="{14574A74-2A26-475E-A8EB-326503AED447}" sibTransId="{532D4F0E-0018-4D93-9FB0-86825B072806}"/>
    <dgm:cxn modelId="{4879C499-EC7D-4909-8EF9-259C23C14AFE}" type="presOf" srcId="{A5A326AA-2909-4249-9F46-82C47F3A73D2}" destId="{2D3F8D00-7F80-4FF8-9692-4B8ADC70CCBF}" srcOrd="0" destOrd="0" presId="urn:microsoft.com/office/officeart/2018/2/layout/IconLabelList"/>
    <dgm:cxn modelId="{DDE426A9-F283-43EC-9241-E12FD7EF5172}" srcId="{C2D75D45-A904-46CD-9CD5-F79FD12BBDC2}" destId="{2F42D4E3-66A6-46B7-9A8C-FFEC2A59D0F4}" srcOrd="2" destOrd="0" parTransId="{BD1F00DF-FF2E-4114-9B32-4DF045487A6F}" sibTransId="{FBAB2EF1-6F1F-4220-899E-0A78C40DD795}"/>
    <dgm:cxn modelId="{5FC41EB7-CFD3-40AD-B011-F93C47782F80}" type="presOf" srcId="{2F42D4E3-66A6-46B7-9A8C-FFEC2A59D0F4}" destId="{453F8D44-A577-4847-B523-A0D504F49A36}" srcOrd="0" destOrd="0" presId="urn:microsoft.com/office/officeart/2018/2/layout/IconLabelList"/>
    <dgm:cxn modelId="{8B9F54D2-ED5E-4113-B1C2-43B23DB1A1DC}" type="presOf" srcId="{C2D75D45-A904-46CD-9CD5-F79FD12BBDC2}" destId="{229BE6A1-7209-4724-BF75-D14D7EE3A991}" srcOrd="0" destOrd="0" presId="urn:microsoft.com/office/officeart/2018/2/layout/IconLabelList"/>
    <dgm:cxn modelId="{3D0E6B67-53D6-4EBB-A62B-8C6C3EF5977D}" type="presParOf" srcId="{229BE6A1-7209-4724-BF75-D14D7EE3A991}" destId="{1A83A895-9F08-4B6B-9661-30678D79E6BD}" srcOrd="0" destOrd="0" presId="urn:microsoft.com/office/officeart/2018/2/layout/IconLabelList"/>
    <dgm:cxn modelId="{4E8FA12B-4A83-4AC3-BD8B-2FB775D3FD9A}" type="presParOf" srcId="{1A83A895-9F08-4B6B-9661-30678D79E6BD}" destId="{9B4FF36A-10A2-419B-B435-D973E597B52B}" srcOrd="0" destOrd="0" presId="urn:microsoft.com/office/officeart/2018/2/layout/IconLabelList"/>
    <dgm:cxn modelId="{A948C1E4-2ACB-4D39-9428-1DBEABA38638}" type="presParOf" srcId="{1A83A895-9F08-4B6B-9661-30678D79E6BD}" destId="{EB056213-4E87-473D-9D70-F8A14FE64746}" srcOrd="1" destOrd="0" presId="urn:microsoft.com/office/officeart/2018/2/layout/IconLabelList"/>
    <dgm:cxn modelId="{C201551C-6C3A-4E73-850B-2D139AA9C802}" type="presParOf" srcId="{1A83A895-9F08-4B6B-9661-30678D79E6BD}" destId="{2D3F8D00-7F80-4FF8-9692-4B8ADC70CCBF}" srcOrd="2" destOrd="0" presId="urn:microsoft.com/office/officeart/2018/2/layout/IconLabelList"/>
    <dgm:cxn modelId="{FB61D333-3382-419A-B950-BF33D1551151}" type="presParOf" srcId="{229BE6A1-7209-4724-BF75-D14D7EE3A991}" destId="{ABC0E27B-8401-414B-9212-8174B643E28A}" srcOrd="1" destOrd="0" presId="urn:microsoft.com/office/officeart/2018/2/layout/IconLabelList"/>
    <dgm:cxn modelId="{C8FEB153-500A-4609-9472-211B2B6C896B}" type="presParOf" srcId="{229BE6A1-7209-4724-BF75-D14D7EE3A991}" destId="{10D56DC7-7F30-4C33-8D2F-3B245BF98E8B}" srcOrd="2" destOrd="0" presId="urn:microsoft.com/office/officeart/2018/2/layout/IconLabelList"/>
    <dgm:cxn modelId="{84DDBA75-2330-4673-826E-FDAB29B9E309}" type="presParOf" srcId="{10D56DC7-7F30-4C33-8D2F-3B245BF98E8B}" destId="{479807AC-8B0F-4F67-8490-8A0FF853F18E}" srcOrd="0" destOrd="0" presId="urn:microsoft.com/office/officeart/2018/2/layout/IconLabelList"/>
    <dgm:cxn modelId="{51E3F2B2-34E7-40DC-89C0-EF0F6E95D417}" type="presParOf" srcId="{10D56DC7-7F30-4C33-8D2F-3B245BF98E8B}" destId="{F62653AC-E643-49B6-BF79-D58184AFEDCD}" srcOrd="1" destOrd="0" presId="urn:microsoft.com/office/officeart/2018/2/layout/IconLabelList"/>
    <dgm:cxn modelId="{B78A4B78-4C0D-4877-B5A9-F938AD4BFCBF}" type="presParOf" srcId="{10D56DC7-7F30-4C33-8D2F-3B245BF98E8B}" destId="{776280F0-0F0A-416C-9C07-CEF65ED199E5}" srcOrd="2" destOrd="0" presId="urn:microsoft.com/office/officeart/2018/2/layout/IconLabelList"/>
    <dgm:cxn modelId="{86056736-88C2-4FE6-A27D-8BC16858975B}" type="presParOf" srcId="{229BE6A1-7209-4724-BF75-D14D7EE3A991}" destId="{C15E1CD1-0E15-4A32-AF4F-E6DADCCED731}" srcOrd="3" destOrd="0" presId="urn:microsoft.com/office/officeart/2018/2/layout/IconLabelList"/>
    <dgm:cxn modelId="{01D6254B-CE75-4588-865F-7884E6FD8FE8}" type="presParOf" srcId="{229BE6A1-7209-4724-BF75-D14D7EE3A991}" destId="{804189DD-705B-47DB-863B-73E705750E6B}" srcOrd="4" destOrd="0" presId="urn:microsoft.com/office/officeart/2018/2/layout/IconLabelList"/>
    <dgm:cxn modelId="{BCE80CF2-F34E-49DA-82FC-6BA4678678F8}" type="presParOf" srcId="{804189DD-705B-47DB-863B-73E705750E6B}" destId="{9837675D-5768-42F6-B6FB-94D0E5AC1EDD}" srcOrd="0" destOrd="0" presId="urn:microsoft.com/office/officeart/2018/2/layout/IconLabelList"/>
    <dgm:cxn modelId="{CE328341-4BE0-43D0-BED2-37F0B5EC84DC}" type="presParOf" srcId="{804189DD-705B-47DB-863B-73E705750E6B}" destId="{061802AA-0860-4FA5-BDDC-CF2BC5F3382A}" srcOrd="1" destOrd="0" presId="urn:microsoft.com/office/officeart/2018/2/layout/IconLabelList"/>
    <dgm:cxn modelId="{8351AF09-EB0B-4519-B417-E8343C58E9A3}" type="presParOf" srcId="{804189DD-705B-47DB-863B-73E705750E6B}" destId="{453F8D44-A577-4847-B523-A0D504F49A36}" srcOrd="2" destOrd="0" presId="urn:microsoft.com/office/officeart/2018/2/layout/IconLabelList"/>
  </dgm:cxnLst>
  <dgm:bg/>
  <dgm:whole>
    <a:ln>
      <a:solidFill>
        <a:srgbClr val="FFC000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79A660-3C44-8645-8BB0-DD0296FAA3B6}" type="doc">
      <dgm:prSet loTypeId="urn:microsoft.com/office/officeart/2005/8/layout/chevron1" loCatId="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fi-FI"/>
        </a:p>
      </dgm:t>
    </dgm:pt>
    <dgm:pt modelId="{C27D056A-28F6-7C42-B067-F2505BE1696A}">
      <dgm:prSet phldrT="[Text]"/>
      <dgm:spPr/>
      <dgm:t>
        <a:bodyPr/>
        <a:lstStyle/>
        <a:p>
          <a:r>
            <a:rPr lang="en-US"/>
            <a:t>2021</a:t>
          </a:r>
        </a:p>
      </dgm:t>
    </dgm:pt>
    <dgm:pt modelId="{7B66CB3B-7E75-B646-B516-6723287EC3D3}" type="parTrans" cxnId="{7F93C8F7-40E8-1443-A71D-7F5AE9E8C161}">
      <dgm:prSet/>
      <dgm:spPr/>
      <dgm:t>
        <a:bodyPr/>
        <a:lstStyle/>
        <a:p>
          <a:endParaRPr lang="en-US"/>
        </a:p>
      </dgm:t>
    </dgm:pt>
    <dgm:pt modelId="{7504303C-B7FF-4346-B35C-5EADCE7201F3}" type="sibTrans" cxnId="{7F93C8F7-40E8-1443-A71D-7F5AE9E8C161}">
      <dgm:prSet/>
      <dgm:spPr/>
      <dgm:t>
        <a:bodyPr/>
        <a:lstStyle/>
        <a:p>
          <a:endParaRPr lang="en-US"/>
        </a:p>
      </dgm:t>
    </dgm:pt>
    <dgm:pt modelId="{E76CD6F0-4808-274E-87F1-CB88108A0FF2}">
      <dgm:prSet phldrT="[Text]"/>
      <dgm:spPr/>
      <dgm:t>
        <a:bodyPr/>
        <a:lstStyle/>
        <a:p>
          <a:r>
            <a:rPr lang="en-US"/>
            <a:t>2022</a:t>
          </a:r>
        </a:p>
      </dgm:t>
    </dgm:pt>
    <dgm:pt modelId="{45BB2AB7-91A3-F441-A78E-47EF4FB18F5A}" type="parTrans" cxnId="{386DAFDF-4A34-EF49-81DE-45161B15AD20}">
      <dgm:prSet/>
      <dgm:spPr/>
      <dgm:t>
        <a:bodyPr/>
        <a:lstStyle/>
        <a:p>
          <a:endParaRPr lang="en-US"/>
        </a:p>
      </dgm:t>
    </dgm:pt>
    <dgm:pt modelId="{836CC7A0-19FB-944D-A159-6F94FF60C6D2}" type="sibTrans" cxnId="{386DAFDF-4A34-EF49-81DE-45161B15AD20}">
      <dgm:prSet/>
      <dgm:spPr/>
      <dgm:t>
        <a:bodyPr/>
        <a:lstStyle/>
        <a:p>
          <a:endParaRPr lang="en-US"/>
        </a:p>
      </dgm:t>
    </dgm:pt>
    <dgm:pt modelId="{CD8B9E88-E707-407D-BE51-381E3EB883C7}">
      <dgm:prSet phldrT="[Text]"/>
      <dgm:spPr/>
      <dgm:t>
        <a:bodyPr/>
        <a:lstStyle/>
        <a:p>
          <a:r>
            <a:rPr lang="en-US"/>
            <a:t>2023</a:t>
          </a:r>
        </a:p>
      </dgm:t>
    </dgm:pt>
    <dgm:pt modelId="{50F3CA54-B958-41B6-A26D-596A54A800C0}" type="parTrans" cxnId="{4276469C-1E58-4D46-B0B6-53835218EF24}">
      <dgm:prSet/>
      <dgm:spPr/>
      <dgm:t>
        <a:bodyPr/>
        <a:lstStyle/>
        <a:p>
          <a:endParaRPr lang="en-US"/>
        </a:p>
      </dgm:t>
    </dgm:pt>
    <dgm:pt modelId="{65AF7611-844B-4893-88B0-A587A98F5015}" type="sibTrans" cxnId="{4276469C-1E58-4D46-B0B6-53835218EF24}">
      <dgm:prSet/>
      <dgm:spPr/>
      <dgm:t>
        <a:bodyPr/>
        <a:lstStyle/>
        <a:p>
          <a:endParaRPr lang="en-US"/>
        </a:p>
      </dgm:t>
    </dgm:pt>
    <dgm:pt modelId="{83BE01A0-303C-4734-B628-8E4BA3F755AE}">
      <dgm:prSet phldrT="[Text]"/>
      <dgm:spPr/>
      <dgm:t>
        <a:bodyPr/>
        <a:lstStyle/>
        <a:p>
          <a:r>
            <a:rPr lang="en-US"/>
            <a:t>2024</a:t>
          </a:r>
        </a:p>
      </dgm:t>
    </dgm:pt>
    <dgm:pt modelId="{E4AACE89-D771-45C4-8F04-D3650C5CA31F}" type="parTrans" cxnId="{3DBA16DA-71D8-42C2-8481-69E6C4D76C55}">
      <dgm:prSet/>
      <dgm:spPr/>
      <dgm:t>
        <a:bodyPr/>
        <a:lstStyle/>
        <a:p>
          <a:endParaRPr lang="en-US"/>
        </a:p>
      </dgm:t>
    </dgm:pt>
    <dgm:pt modelId="{B501E123-0E6C-46F3-BF35-A89E4EEBD4AE}" type="sibTrans" cxnId="{3DBA16DA-71D8-42C2-8481-69E6C4D76C55}">
      <dgm:prSet/>
      <dgm:spPr/>
      <dgm:t>
        <a:bodyPr/>
        <a:lstStyle/>
        <a:p>
          <a:endParaRPr lang="en-US"/>
        </a:p>
      </dgm:t>
    </dgm:pt>
    <dgm:pt modelId="{C0D1758A-2A73-41E7-9947-C1EAA6DB6230}">
      <dgm:prSet phldrT="[Text]"/>
      <dgm:spPr/>
      <dgm:t>
        <a:bodyPr/>
        <a:lstStyle/>
        <a:p>
          <a:r>
            <a:rPr lang="en-US"/>
            <a:t>2025</a:t>
          </a:r>
        </a:p>
      </dgm:t>
    </dgm:pt>
    <dgm:pt modelId="{D4491A81-85BA-4BAF-9FC1-232A2C396F3A}" type="parTrans" cxnId="{1A7B7553-4ECD-4882-8994-471298E4293F}">
      <dgm:prSet/>
      <dgm:spPr/>
      <dgm:t>
        <a:bodyPr/>
        <a:lstStyle/>
        <a:p>
          <a:endParaRPr lang="en-US"/>
        </a:p>
      </dgm:t>
    </dgm:pt>
    <dgm:pt modelId="{5CDD9E93-A121-41AE-A274-988355C2831D}" type="sibTrans" cxnId="{1A7B7553-4ECD-4882-8994-471298E4293F}">
      <dgm:prSet/>
      <dgm:spPr/>
      <dgm:t>
        <a:bodyPr/>
        <a:lstStyle/>
        <a:p>
          <a:endParaRPr lang="en-US"/>
        </a:p>
      </dgm:t>
    </dgm:pt>
    <dgm:pt modelId="{1AE9A1EE-75BD-467E-A801-7910179688AB}">
      <dgm:prSet/>
      <dgm:spPr/>
      <dgm:t>
        <a:bodyPr/>
        <a:lstStyle/>
        <a:p>
          <a:r>
            <a:rPr lang="en-GB"/>
            <a:t>2026</a:t>
          </a:r>
        </a:p>
      </dgm:t>
    </dgm:pt>
    <dgm:pt modelId="{EDDBAE2F-2BD8-466E-BC36-F0C342798EEB}" type="parTrans" cxnId="{024496EF-3D9F-4147-BD5C-B3F035ED78E8}">
      <dgm:prSet/>
      <dgm:spPr/>
      <dgm:t>
        <a:bodyPr/>
        <a:lstStyle/>
        <a:p>
          <a:endParaRPr lang="en-GB"/>
        </a:p>
      </dgm:t>
    </dgm:pt>
    <dgm:pt modelId="{4203DDDE-57F3-4119-B0E7-3F8AD3D3548A}" type="sibTrans" cxnId="{024496EF-3D9F-4147-BD5C-B3F035ED78E8}">
      <dgm:prSet/>
      <dgm:spPr/>
      <dgm:t>
        <a:bodyPr/>
        <a:lstStyle/>
        <a:p>
          <a:endParaRPr lang="en-GB"/>
        </a:p>
      </dgm:t>
    </dgm:pt>
    <dgm:pt modelId="{452F6CA8-34B4-4F43-846E-8BE18FEE2638}">
      <dgm:prSet/>
      <dgm:spPr/>
      <dgm:t>
        <a:bodyPr/>
        <a:lstStyle/>
        <a:p>
          <a:r>
            <a:rPr lang="en-GB"/>
            <a:t>2027</a:t>
          </a:r>
        </a:p>
      </dgm:t>
    </dgm:pt>
    <dgm:pt modelId="{2241CFB5-2DFC-4D51-889C-BF2EE385C67C}" type="parTrans" cxnId="{0E20B093-D550-4438-87B9-5A22CAD32540}">
      <dgm:prSet/>
      <dgm:spPr/>
      <dgm:t>
        <a:bodyPr/>
        <a:lstStyle/>
        <a:p>
          <a:endParaRPr lang="en-GB"/>
        </a:p>
      </dgm:t>
    </dgm:pt>
    <dgm:pt modelId="{708A28AB-0DCE-4FF4-91C7-F59250F4BC00}" type="sibTrans" cxnId="{0E20B093-D550-4438-87B9-5A22CAD32540}">
      <dgm:prSet/>
      <dgm:spPr/>
      <dgm:t>
        <a:bodyPr/>
        <a:lstStyle/>
        <a:p>
          <a:endParaRPr lang="en-GB"/>
        </a:p>
      </dgm:t>
    </dgm:pt>
    <dgm:pt modelId="{47957CD3-72BE-D547-ABB1-9C30FFC48484}" type="pres">
      <dgm:prSet presAssocID="{D779A660-3C44-8645-8BB0-DD0296FAA3B6}" presName="Name0" presStyleCnt="0">
        <dgm:presLayoutVars>
          <dgm:dir/>
          <dgm:animLvl val="lvl"/>
          <dgm:resizeHandles val="exact"/>
        </dgm:presLayoutVars>
      </dgm:prSet>
      <dgm:spPr/>
    </dgm:pt>
    <dgm:pt modelId="{A09F965E-DD39-2749-A807-0AA046C8E267}" type="pres">
      <dgm:prSet presAssocID="{C27D056A-28F6-7C42-B067-F2505BE1696A}" presName="parTxOnly" presStyleLbl="node1" presStyleIdx="0" presStyleCnt="7">
        <dgm:presLayoutVars>
          <dgm:chMax val="0"/>
          <dgm:chPref val="0"/>
          <dgm:bulletEnabled val="1"/>
        </dgm:presLayoutVars>
      </dgm:prSet>
      <dgm:spPr/>
    </dgm:pt>
    <dgm:pt modelId="{DC442830-C823-4A41-BCE3-3F36006C0C38}" type="pres">
      <dgm:prSet presAssocID="{7504303C-B7FF-4346-B35C-5EADCE7201F3}" presName="parTxOnlySpace" presStyleCnt="0"/>
      <dgm:spPr/>
    </dgm:pt>
    <dgm:pt modelId="{4EBAD4B0-C045-8043-B82C-A73959C7C5A7}" type="pres">
      <dgm:prSet presAssocID="{E76CD6F0-4808-274E-87F1-CB88108A0FF2}" presName="parTxOnly" presStyleLbl="node1" presStyleIdx="1" presStyleCnt="7">
        <dgm:presLayoutVars>
          <dgm:chMax val="0"/>
          <dgm:chPref val="0"/>
          <dgm:bulletEnabled val="1"/>
        </dgm:presLayoutVars>
      </dgm:prSet>
      <dgm:spPr/>
    </dgm:pt>
    <dgm:pt modelId="{577FDF56-399B-4AFD-953D-6B86A2B6F381}" type="pres">
      <dgm:prSet presAssocID="{836CC7A0-19FB-944D-A159-6F94FF60C6D2}" presName="parTxOnlySpace" presStyleCnt="0"/>
      <dgm:spPr/>
    </dgm:pt>
    <dgm:pt modelId="{1731967A-894D-4FF7-86F6-568274FFA06B}" type="pres">
      <dgm:prSet presAssocID="{CD8B9E88-E707-407D-BE51-381E3EB883C7}" presName="parTxOnly" presStyleLbl="node1" presStyleIdx="2" presStyleCnt="7">
        <dgm:presLayoutVars>
          <dgm:chMax val="0"/>
          <dgm:chPref val="0"/>
          <dgm:bulletEnabled val="1"/>
        </dgm:presLayoutVars>
      </dgm:prSet>
      <dgm:spPr/>
    </dgm:pt>
    <dgm:pt modelId="{15134252-51E6-4F2F-B225-5A37D3E29E8A}" type="pres">
      <dgm:prSet presAssocID="{65AF7611-844B-4893-88B0-A587A98F5015}" presName="parTxOnlySpace" presStyleCnt="0"/>
      <dgm:spPr/>
    </dgm:pt>
    <dgm:pt modelId="{77AE46E2-D03E-417F-8D27-918F1FC9EE8A}" type="pres">
      <dgm:prSet presAssocID="{83BE01A0-303C-4734-B628-8E4BA3F755AE}" presName="parTxOnly" presStyleLbl="node1" presStyleIdx="3" presStyleCnt="7">
        <dgm:presLayoutVars>
          <dgm:chMax val="0"/>
          <dgm:chPref val="0"/>
          <dgm:bulletEnabled val="1"/>
        </dgm:presLayoutVars>
      </dgm:prSet>
      <dgm:spPr/>
    </dgm:pt>
    <dgm:pt modelId="{8C2AEF18-85F4-42BF-9C4C-12A805C96559}" type="pres">
      <dgm:prSet presAssocID="{B501E123-0E6C-46F3-BF35-A89E4EEBD4AE}" presName="parTxOnlySpace" presStyleCnt="0"/>
      <dgm:spPr/>
    </dgm:pt>
    <dgm:pt modelId="{E3518312-BA11-4F63-B001-BCE6104B4A44}" type="pres">
      <dgm:prSet presAssocID="{C0D1758A-2A73-41E7-9947-C1EAA6DB6230}" presName="parTxOnly" presStyleLbl="node1" presStyleIdx="4" presStyleCnt="7">
        <dgm:presLayoutVars>
          <dgm:chMax val="0"/>
          <dgm:chPref val="0"/>
          <dgm:bulletEnabled val="1"/>
        </dgm:presLayoutVars>
      </dgm:prSet>
      <dgm:spPr/>
    </dgm:pt>
    <dgm:pt modelId="{4ABAE894-2791-47C1-A97A-C2399F5E1184}" type="pres">
      <dgm:prSet presAssocID="{5CDD9E93-A121-41AE-A274-988355C2831D}" presName="parTxOnlySpace" presStyleCnt="0"/>
      <dgm:spPr/>
    </dgm:pt>
    <dgm:pt modelId="{DB76B380-FF26-437C-AC16-2AA22BA9EBD0}" type="pres">
      <dgm:prSet presAssocID="{1AE9A1EE-75BD-467E-A801-7910179688AB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2E5F260E-D596-46B1-925E-85A5218E452C}" type="pres">
      <dgm:prSet presAssocID="{4203DDDE-57F3-4119-B0E7-3F8AD3D3548A}" presName="parTxOnlySpace" presStyleCnt="0"/>
      <dgm:spPr/>
    </dgm:pt>
    <dgm:pt modelId="{4ABE3082-F5B7-40F9-8AC5-8403821D5FC2}" type="pres">
      <dgm:prSet presAssocID="{452F6CA8-34B4-4F43-846E-8BE18FEE2638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BD7CB91A-1284-E54A-8732-C4E3EB8A64D0}" type="presOf" srcId="{E76CD6F0-4808-274E-87F1-CB88108A0FF2}" destId="{4EBAD4B0-C045-8043-B82C-A73959C7C5A7}" srcOrd="0" destOrd="0" presId="urn:microsoft.com/office/officeart/2005/8/layout/chevron1"/>
    <dgm:cxn modelId="{1DD2BC30-AF9C-594D-89C3-9D680CEB76E8}" type="presOf" srcId="{D779A660-3C44-8645-8BB0-DD0296FAA3B6}" destId="{47957CD3-72BE-D547-ABB1-9C30FFC48484}" srcOrd="0" destOrd="0" presId="urn:microsoft.com/office/officeart/2005/8/layout/chevron1"/>
    <dgm:cxn modelId="{AD1EEB3A-8F5F-423B-AEC2-862A57479B59}" type="presOf" srcId="{1AE9A1EE-75BD-467E-A801-7910179688AB}" destId="{DB76B380-FF26-437C-AC16-2AA22BA9EBD0}" srcOrd="0" destOrd="0" presId="urn:microsoft.com/office/officeart/2005/8/layout/chevron1"/>
    <dgm:cxn modelId="{6E8C7041-BEA3-461C-974D-584B6C0531F0}" type="presOf" srcId="{CD8B9E88-E707-407D-BE51-381E3EB883C7}" destId="{1731967A-894D-4FF7-86F6-568274FFA06B}" srcOrd="0" destOrd="0" presId="urn:microsoft.com/office/officeart/2005/8/layout/chevron1"/>
    <dgm:cxn modelId="{D0CAF54C-DCC8-4B4C-8F43-68B1B330E3B1}" type="presOf" srcId="{83BE01A0-303C-4734-B628-8E4BA3F755AE}" destId="{77AE46E2-D03E-417F-8D27-918F1FC9EE8A}" srcOrd="0" destOrd="0" presId="urn:microsoft.com/office/officeart/2005/8/layout/chevron1"/>
    <dgm:cxn modelId="{1A7B7553-4ECD-4882-8994-471298E4293F}" srcId="{D779A660-3C44-8645-8BB0-DD0296FAA3B6}" destId="{C0D1758A-2A73-41E7-9947-C1EAA6DB6230}" srcOrd="4" destOrd="0" parTransId="{D4491A81-85BA-4BAF-9FC1-232A2C396F3A}" sibTransId="{5CDD9E93-A121-41AE-A274-988355C2831D}"/>
    <dgm:cxn modelId="{0E20B093-D550-4438-87B9-5A22CAD32540}" srcId="{D779A660-3C44-8645-8BB0-DD0296FAA3B6}" destId="{452F6CA8-34B4-4F43-846E-8BE18FEE2638}" srcOrd="6" destOrd="0" parTransId="{2241CFB5-2DFC-4D51-889C-BF2EE385C67C}" sibTransId="{708A28AB-0DCE-4FF4-91C7-F59250F4BC00}"/>
    <dgm:cxn modelId="{4276469C-1E58-4D46-B0B6-53835218EF24}" srcId="{D779A660-3C44-8645-8BB0-DD0296FAA3B6}" destId="{CD8B9E88-E707-407D-BE51-381E3EB883C7}" srcOrd="2" destOrd="0" parTransId="{50F3CA54-B958-41B6-A26D-596A54A800C0}" sibTransId="{65AF7611-844B-4893-88B0-A587A98F5015}"/>
    <dgm:cxn modelId="{C244D5B1-A6D1-6F43-9B65-1B8028E3E06D}" type="presOf" srcId="{C27D056A-28F6-7C42-B067-F2505BE1696A}" destId="{A09F965E-DD39-2749-A807-0AA046C8E267}" srcOrd="0" destOrd="0" presId="urn:microsoft.com/office/officeart/2005/8/layout/chevron1"/>
    <dgm:cxn modelId="{3DBA16DA-71D8-42C2-8481-69E6C4D76C55}" srcId="{D779A660-3C44-8645-8BB0-DD0296FAA3B6}" destId="{83BE01A0-303C-4734-B628-8E4BA3F755AE}" srcOrd="3" destOrd="0" parTransId="{E4AACE89-D771-45C4-8F04-D3650C5CA31F}" sibTransId="{B501E123-0E6C-46F3-BF35-A89E4EEBD4AE}"/>
    <dgm:cxn modelId="{87349BDE-ABC3-459C-A032-8D641FCFD8E4}" type="presOf" srcId="{C0D1758A-2A73-41E7-9947-C1EAA6DB6230}" destId="{E3518312-BA11-4F63-B001-BCE6104B4A44}" srcOrd="0" destOrd="0" presId="urn:microsoft.com/office/officeart/2005/8/layout/chevron1"/>
    <dgm:cxn modelId="{386DAFDF-4A34-EF49-81DE-45161B15AD20}" srcId="{D779A660-3C44-8645-8BB0-DD0296FAA3B6}" destId="{E76CD6F0-4808-274E-87F1-CB88108A0FF2}" srcOrd="1" destOrd="0" parTransId="{45BB2AB7-91A3-F441-A78E-47EF4FB18F5A}" sibTransId="{836CC7A0-19FB-944D-A159-6F94FF60C6D2}"/>
    <dgm:cxn modelId="{50BAFEE1-0284-4253-B889-8AB3E51692DF}" type="presOf" srcId="{452F6CA8-34B4-4F43-846E-8BE18FEE2638}" destId="{4ABE3082-F5B7-40F9-8AC5-8403821D5FC2}" srcOrd="0" destOrd="0" presId="urn:microsoft.com/office/officeart/2005/8/layout/chevron1"/>
    <dgm:cxn modelId="{024496EF-3D9F-4147-BD5C-B3F035ED78E8}" srcId="{D779A660-3C44-8645-8BB0-DD0296FAA3B6}" destId="{1AE9A1EE-75BD-467E-A801-7910179688AB}" srcOrd="5" destOrd="0" parTransId="{EDDBAE2F-2BD8-466E-BC36-F0C342798EEB}" sibTransId="{4203DDDE-57F3-4119-B0E7-3F8AD3D3548A}"/>
    <dgm:cxn modelId="{7F93C8F7-40E8-1443-A71D-7F5AE9E8C161}" srcId="{D779A660-3C44-8645-8BB0-DD0296FAA3B6}" destId="{C27D056A-28F6-7C42-B067-F2505BE1696A}" srcOrd="0" destOrd="0" parTransId="{7B66CB3B-7E75-B646-B516-6723287EC3D3}" sibTransId="{7504303C-B7FF-4346-B35C-5EADCE7201F3}"/>
    <dgm:cxn modelId="{E4D71C99-62B9-8046-AE1D-5AAAA39EC3BE}" type="presParOf" srcId="{47957CD3-72BE-D547-ABB1-9C30FFC48484}" destId="{A09F965E-DD39-2749-A807-0AA046C8E267}" srcOrd="0" destOrd="0" presId="urn:microsoft.com/office/officeart/2005/8/layout/chevron1"/>
    <dgm:cxn modelId="{28B22ABE-A702-044C-B833-460BF4B258C9}" type="presParOf" srcId="{47957CD3-72BE-D547-ABB1-9C30FFC48484}" destId="{DC442830-C823-4A41-BCE3-3F36006C0C38}" srcOrd="1" destOrd="0" presId="urn:microsoft.com/office/officeart/2005/8/layout/chevron1"/>
    <dgm:cxn modelId="{BC3073E1-8010-314E-AB76-ED8EF41FFC99}" type="presParOf" srcId="{47957CD3-72BE-D547-ABB1-9C30FFC48484}" destId="{4EBAD4B0-C045-8043-B82C-A73959C7C5A7}" srcOrd="2" destOrd="0" presId="urn:microsoft.com/office/officeart/2005/8/layout/chevron1"/>
    <dgm:cxn modelId="{742429C3-98F5-4E93-A7C9-93D12AB1868D}" type="presParOf" srcId="{47957CD3-72BE-D547-ABB1-9C30FFC48484}" destId="{577FDF56-399B-4AFD-953D-6B86A2B6F381}" srcOrd="3" destOrd="0" presId="urn:microsoft.com/office/officeart/2005/8/layout/chevron1"/>
    <dgm:cxn modelId="{4348E794-F79C-4E52-8145-050087955C78}" type="presParOf" srcId="{47957CD3-72BE-D547-ABB1-9C30FFC48484}" destId="{1731967A-894D-4FF7-86F6-568274FFA06B}" srcOrd="4" destOrd="0" presId="urn:microsoft.com/office/officeart/2005/8/layout/chevron1"/>
    <dgm:cxn modelId="{A96B87B3-850F-4C33-9F81-1BCA9DDC494E}" type="presParOf" srcId="{47957CD3-72BE-D547-ABB1-9C30FFC48484}" destId="{15134252-51E6-4F2F-B225-5A37D3E29E8A}" srcOrd="5" destOrd="0" presId="urn:microsoft.com/office/officeart/2005/8/layout/chevron1"/>
    <dgm:cxn modelId="{26D668A5-CB01-4706-A589-56E7D8FFBD4E}" type="presParOf" srcId="{47957CD3-72BE-D547-ABB1-9C30FFC48484}" destId="{77AE46E2-D03E-417F-8D27-918F1FC9EE8A}" srcOrd="6" destOrd="0" presId="urn:microsoft.com/office/officeart/2005/8/layout/chevron1"/>
    <dgm:cxn modelId="{2B7BBD68-9A88-4CEF-A67C-6ED27590DC19}" type="presParOf" srcId="{47957CD3-72BE-D547-ABB1-9C30FFC48484}" destId="{8C2AEF18-85F4-42BF-9C4C-12A805C96559}" srcOrd="7" destOrd="0" presId="urn:microsoft.com/office/officeart/2005/8/layout/chevron1"/>
    <dgm:cxn modelId="{3DE4C627-781F-4D19-A593-6AE1B7F9B3E2}" type="presParOf" srcId="{47957CD3-72BE-D547-ABB1-9C30FFC48484}" destId="{E3518312-BA11-4F63-B001-BCE6104B4A44}" srcOrd="8" destOrd="0" presId="urn:microsoft.com/office/officeart/2005/8/layout/chevron1"/>
    <dgm:cxn modelId="{29F3A65C-AE27-4DA7-BD82-C335D211EE8D}" type="presParOf" srcId="{47957CD3-72BE-D547-ABB1-9C30FFC48484}" destId="{4ABAE894-2791-47C1-A97A-C2399F5E1184}" srcOrd="9" destOrd="0" presId="urn:microsoft.com/office/officeart/2005/8/layout/chevron1"/>
    <dgm:cxn modelId="{24FCEEF0-5D13-40D2-A575-F367C03656C3}" type="presParOf" srcId="{47957CD3-72BE-D547-ABB1-9C30FFC48484}" destId="{DB76B380-FF26-437C-AC16-2AA22BA9EBD0}" srcOrd="10" destOrd="0" presId="urn:microsoft.com/office/officeart/2005/8/layout/chevron1"/>
    <dgm:cxn modelId="{0BAECD90-57E7-493B-8D2A-013FAF89A841}" type="presParOf" srcId="{47957CD3-72BE-D547-ABB1-9C30FFC48484}" destId="{2E5F260E-D596-46B1-925E-85A5218E452C}" srcOrd="11" destOrd="0" presId="urn:microsoft.com/office/officeart/2005/8/layout/chevron1"/>
    <dgm:cxn modelId="{E9AEAF42-BAED-4A3C-BDD5-3A6049B31782}" type="presParOf" srcId="{47957CD3-72BE-D547-ABB1-9C30FFC48484}" destId="{4ABE3082-F5B7-40F9-8AC5-8403821D5FC2}" srcOrd="1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F0263C-5497-4721-9C0E-E2376126BB7C}">
      <dsp:nvSpPr>
        <dsp:cNvPr id="0" name=""/>
        <dsp:cNvSpPr/>
      </dsp:nvSpPr>
      <dsp:spPr>
        <a:xfrm>
          <a:off x="238007" y="676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01C320-4C6C-428D-9B4E-21ADC2C6963F}">
      <dsp:nvSpPr>
        <dsp:cNvPr id="0" name=""/>
        <dsp:cNvSpPr/>
      </dsp:nvSpPr>
      <dsp:spPr>
        <a:xfrm>
          <a:off x="375832" y="205453"/>
          <a:ext cx="380660" cy="38066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A78C63-950C-4CB6-811D-321173F12316}">
      <dsp:nvSpPr>
        <dsp:cNvPr id="0" name=""/>
        <dsp:cNvSpPr/>
      </dsp:nvSpPr>
      <dsp:spPr>
        <a:xfrm>
          <a:off x="1034956" y="676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Competence-based education (defined learning outcomes)</a:t>
          </a:r>
          <a:endParaRPr lang="en-US" sz="14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034956" y="67628"/>
        <a:ext cx="1547020" cy="656311"/>
      </dsp:txXfrm>
    </dsp:sp>
    <dsp:sp modelId="{D31FE7C2-4CAC-4FD8-90B7-E74938C20B33}">
      <dsp:nvSpPr>
        <dsp:cNvPr id="0" name=""/>
        <dsp:cNvSpPr/>
      </dsp:nvSpPr>
      <dsp:spPr>
        <a:xfrm>
          <a:off x="2851533" y="676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FD18F9-AC07-4A32-9109-9290A8357264}">
      <dsp:nvSpPr>
        <dsp:cNvPr id="0" name=""/>
        <dsp:cNvSpPr/>
      </dsp:nvSpPr>
      <dsp:spPr>
        <a:xfrm>
          <a:off x="2989358" y="2054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6000" b="-6000"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05FF37-60F8-495F-9CE3-5AF762D02507}">
      <dsp:nvSpPr>
        <dsp:cNvPr id="0" name=""/>
        <dsp:cNvSpPr/>
      </dsp:nvSpPr>
      <dsp:spPr>
        <a:xfrm>
          <a:off x="3648483" y="676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Working-life relevance</a:t>
          </a:r>
        </a:p>
      </dsp:txBody>
      <dsp:txXfrm>
        <a:off x="3648483" y="67628"/>
        <a:ext cx="1547020" cy="656311"/>
      </dsp:txXfrm>
    </dsp:sp>
    <dsp:sp modelId="{2790BE34-B044-4A8D-B9D2-C0DAB5FD1AC5}">
      <dsp:nvSpPr>
        <dsp:cNvPr id="0" name=""/>
        <dsp:cNvSpPr/>
      </dsp:nvSpPr>
      <dsp:spPr>
        <a:xfrm>
          <a:off x="5465059" y="676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8567AF-2722-4FD5-8000-DE8A3F92979A}">
      <dsp:nvSpPr>
        <dsp:cNvPr id="0" name=""/>
        <dsp:cNvSpPr/>
      </dsp:nvSpPr>
      <dsp:spPr>
        <a:xfrm>
          <a:off x="5602885" y="205453"/>
          <a:ext cx="380660" cy="38066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574A3A-6B47-41B4-82AA-C59FFE61553D}">
      <dsp:nvSpPr>
        <dsp:cNvPr id="0" name=""/>
        <dsp:cNvSpPr/>
      </dsp:nvSpPr>
      <dsp:spPr>
        <a:xfrm>
          <a:off x="6262009" y="676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Research-based education</a:t>
          </a:r>
          <a:endParaRPr lang="en-GB" sz="1400" kern="1200" noProof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6262009" y="67628"/>
        <a:ext cx="1547020" cy="656311"/>
      </dsp:txXfrm>
    </dsp:sp>
    <dsp:sp modelId="{430B1279-FB41-4BA8-B2B8-7D0563184C7E}">
      <dsp:nvSpPr>
        <dsp:cNvPr id="0" name=""/>
        <dsp:cNvSpPr/>
      </dsp:nvSpPr>
      <dsp:spPr>
        <a:xfrm>
          <a:off x="238007" y="12659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F3B22F-8817-4EFD-8546-EF87BE73FBF3}">
      <dsp:nvSpPr>
        <dsp:cNvPr id="0" name=""/>
        <dsp:cNvSpPr/>
      </dsp:nvSpPr>
      <dsp:spPr>
        <a:xfrm>
          <a:off x="375832" y="14037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7">
            <a:alphaModFix amt="80000"/>
            <a:duotone>
              <a:srgbClr val="0D93D2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7596CA-0BEE-44CF-BB32-9F419BD50817}">
      <dsp:nvSpPr>
        <dsp:cNvPr id="0" name=""/>
        <dsp:cNvSpPr/>
      </dsp:nvSpPr>
      <dsp:spPr>
        <a:xfrm>
          <a:off x="1034956" y="12659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ter-nationalisation</a:t>
          </a:r>
        </a:p>
      </dsp:txBody>
      <dsp:txXfrm>
        <a:off x="1034956" y="1265928"/>
        <a:ext cx="1547020" cy="656311"/>
      </dsp:txXfrm>
    </dsp:sp>
    <dsp:sp modelId="{B8E738A8-6B44-4C40-ACA8-36F3B9BD66FF}">
      <dsp:nvSpPr>
        <dsp:cNvPr id="0" name=""/>
        <dsp:cNvSpPr/>
      </dsp:nvSpPr>
      <dsp:spPr>
        <a:xfrm>
          <a:off x="2851533" y="12659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A4930A-D077-4329-A4F8-5C56FABAE202}">
      <dsp:nvSpPr>
        <dsp:cNvPr id="0" name=""/>
        <dsp:cNvSpPr/>
      </dsp:nvSpPr>
      <dsp:spPr>
        <a:xfrm>
          <a:off x="2989358" y="1403753"/>
          <a:ext cx="380660" cy="380660"/>
        </a:xfrm>
        <a:prstGeom prst="rect">
          <a:avLst/>
        </a:prstGeom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113F3B-6787-40FE-8DA1-E42F9FF9BED0}">
      <dsp:nvSpPr>
        <dsp:cNvPr id="0" name=""/>
        <dsp:cNvSpPr/>
      </dsp:nvSpPr>
      <dsp:spPr>
        <a:xfrm>
          <a:off x="3648483" y="12659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tudent-centred approach</a:t>
          </a:r>
          <a:endParaRPr lang="en-GB" sz="1400" kern="1200" noProof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3648483" y="1265928"/>
        <a:ext cx="1547020" cy="656311"/>
      </dsp:txXfrm>
    </dsp:sp>
    <dsp:sp modelId="{073EC36B-7ACD-4543-A71D-D0000A6373C9}">
      <dsp:nvSpPr>
        <dsp:cNvPr id="0" name=""/>
        <dsp:cNvSpPr/>
      </dsp:nvSpPr>
      <dsp:spPr>
        <a:xfrm>
          <a:off x="5465059" y="12659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31C450-813E-4731-A319-971C76DC6164}">
      <dsp:nvSpPr>
        <dsp:cNvPr id="0" name=""/>
        <dsp:cNvSpPr/>
      </dsp:nvSpPr>
      <dsp:spPr>
        <a:xfrm>
          <a:off x="5602885" y="14037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63498D-1E8A-4733-A924-0A80750F077C}">
      <dsp:nvSpPr>
        <dsp:cNvPr id="0" name=""/>
        <dsp:cNvSpPr/>
      </dsp:nvSpPr>
      <dsp:spPr>
        <a:xfrm>
          <a:off x="6262009" y="12659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upport services </a:t>
          </a:r>
        </a:p>
      </dsp:txBody>
      <dsp:txXfrm>
        <a:off x="6262009" y="1265928"/>
        <a:ext cx="1547020" cy="656311"/>
      </dsp:txXfrm>
    </dsp:sp>
    <dsp:sp modelId="{CDBCE09F-F06C-4C1F-9D20-4C81B0E042AE}">
      <dsp:nvSpPr>
        <dsp:cNvPr id="0" name=""/>
        <dsp:cNvSpPr/>
      </dsp:nvSpPr>
      <dsp:spPr>
        <a:xfrm>
          <a:off x="238007" y="24642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152A7E-A2F8-41D3-9800-D6BD3AA8B3E4}">
      <dsp:nvSpPr>
        <dsp:cNvPr id="0" name=""/>
        <dsp:cNvSpPr/>
      </dsp:nvSpPr>
      <dsp:spPr>
        <a:xfrm>
          <a:off x="375832" y="2602053"/>
          <a:ext cx="380660" cy="380660"/>
        </a:xfrm>
        <a:prstGeom prst="rect">
          <a:avLst/>
        </a:prstGeom>
        <a:blipFill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3E4AF0-7414-4520-B0B7-46813CF9D761}">
      <dsp:nvSpPr>
        <dsp:cNvPr id="0" name=""/>
        <dsp:cNvSpPr/>
      </dsp:nvSpPr>
      <dsp:spPr>
        <a:xfrm>
          <a:off x="1034956" y="24642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Continuous/ </a:t>
          </a:r>
          <a:r>
            <a:rPr lang="en-GB" sz="1400" b="1" kern="1200" noProof="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lifewide</a:t>
          </a: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learning</a:t>
          </a:r>
          <a:endParaRPr lang="en-GB" sz="1400" kern="1200" noProof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034956" y="2464228"/>
        <a:ext cx="1547020" cy="656311"/>
      </dsp:txXfrm>
    </dsp:sp>
    <dsp:sp modelId="{D53D70BE-BE2D-4DB8-92EE-099367DA4094}">
      <dsp:nvSpPr>
        <dsp:cNvPr id="0" name=""/>
        <dsp:cNvSpPr/>
      </dsp:nvSpPr>
      <dsp:spPr>
        <a:xfrm>
          <a:off x="2851533" y="2464228"/>
          <a:ext cx="656311" cy="656311"/>
        </a:xfrm>
        <a:prstGeom prst="ellipse">
          <a:avLst/>
        </a:prstGeom>
        <a:solidFill>
          <a:srgbClr val="0D93D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FE5C36-055F-4A79-B654-D89249D3C1DF}">
      <dsp:nvSpPr>
        <dsp:cNvPr id="0" name=""/>
        <dsp:cNvSpPr/>
      </dsp:nvSpPr>
      <dsp:spPr>
        <a:xfrm>
          <a:off x="2989358" y="2602053"/>
          <a:ext cx="380660" cy="380660"/>
        </a:xfrm>
        <a:prstGeom prst="rect">
          <a:avLst/>
        </a:prstGeom>
        <a:blipFill rotWithShape="1">
          <a:blip xmlns:r="http://schemas.openxmlformats.org/officeDocument/2006/relationships"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CDB837-B145-4C7F-824B-401AA16D28F7}">
      <dsp:nvSpPr>
        <dsp:cNvPr id="0" name=""/>
        <dsp:cNvSpPr/>
      </dsp:nvSpPr>
      <dsp:spPr>
        <a:xfrm>
          <a:off x="3648483" y="2464228"/>
          <a:ext cx="1547020" cy="656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noProof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ystematic development of education</a:t>
          </a:r>
        </a:p>
      </dsp:txBody>
      <dsp:txXfrm>
        <a:off x="3648483" y="2464228"/>
        <a:ext cx="1547020" cy="65631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4FF36A-10A2-419B-B435-D973E597B52B}">
      <dsp:nvSpPr>
        <dsp:cNvPr id="0" name=""/>
        <dsp:cNvSpPr/>
      </dsp:nvSpPr>
      <dsp:spPr>
        <a:xfrm>
          <a:off x="735694" y="455364"/>
          <a:ext cx="1079507" cy="107950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F8D00-7F80-4FF8-9692-4B8ADC70CCBF}">
      <dsp:nvSpPr>
        <dsp:cNvPr id="0" name=""/>
        <dsp:cNvSpPr/>
      </dsp:nvSpPr>
      <dsp:spPr>
        <a:xfrm>
          <a:off x="75995" y="1852435"/>
          <a:ext cx="239890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anaging and enhancing societal engagement and impact</a:t>
          </a:r>
          <a:endParaRPr lang="en-US" sz="1400" b="1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75995" y="1852435"/>
        <a:ext cx="2398905" cy="720000"/>
      </dsp:txXfrm>
    </dsp:sp>
    <dsp:sp modelId="{F1DE985E-E307-490F-BB37-7B68A31F465F}">
      <dsp:nvSpPr>
        <dsp:cNvPr id="0" name=""/>
        <dsp:cNvSpPr/>
      </dsp:nvSpPr>
      <dsp:spPr>
        <a:xfrm>
          <a:off x="3554408" y="455364"/>
          <a:ext cx="1079507" cy="107950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B25397-79BB-4ADE-993B-85F69751FC20}">
      <dsp:nvSpPr>
        <dsp:cNvPr id="0" name=""/>
        <dsp:cNvSpPr/>
      </dsp:nvSpPr>
      <dsp:spPr>
        <a:xfrm>
          <a:off x="2894709" y="1852435"/>
          <a:ext cx="239890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ocietal impact of RDI and artistic activities</a:t>
          </a:r>
        </a:p>
      </dsp:txBody>
      <dsp:txXfrm>
        <a:off x="2894709" y="1852435"/>
        <a:ext cx="2398905" cy="720000"/>
      </dsp:txXfrm>
    </dsp:sp>
    <dsp:sp modelId="{1569F5F4-C107-466E-9B45-66B14C005C04}">
      <dsp:nvSpPr>
        <dsp:cNvPr id="0" name=""/>
        <dsp:cNvSpPr/>
      </dsp:nvSpPr>
      <dsp:spPr>
        <a:xfrm>
          <a:off x="6373122" y="455364"/>
          <a:ext cx="1079507" cy="107950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374345-A292-4E01-9941-67F23B7B9F96}">
      <dsp:nvSpPr>
        <dsp:cNvPr id="0" name=""/>
        <dsp:cNvSpPr/>
      </dsp:nvSpPr>
      <dsp:spPr>
        <a:xfrm>
          <a:off x="5713423" y="1852435"/>
          <a:ext cx="239890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Operational culture encourages innovation and experimental activities </a:t>
          </a:r>
        </a:p>
      </dsp:txBody>
      <dsp:txXfrm>
        <a:off x="5713423" y="1852435"/>
        <a:ext cx="2398905" cy="720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4FF36A-10A2-419B-B435-D973E597B52B}">
      <dsp:nvSpPr>
        <dsp:cNvPr id="0" name=""/>
        <dsp:cNvSpPr/>
      </dsp:nvSpPr>
      <dsp:spPr>
        <a:xfrm>
          <a:off x="735694" y="433014"/>
          <a:ext cx="1079507" cy="107950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F8D00-7F80-4FF8-9692-4B8ADC70CCBF}">
      <dsp:nvSpPr>
        <dsp:cNvPr id="0" name=""/>
        <dsp:cNvSpPr/>
      </dsp:nvSpPr>
      <dsp:spPr>
        <a:xfrm>
          <a:off x="75995" y="1830120"/>
          <a:ext cx="239890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sing the quality system</a:t>
          </a:r>
          <a:br>
            <a:rPr lang="en-US" sz="14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14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in strategic management</a:t>
          </a:r>
          <a:endParaRPr lang="en-US" sz="14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75995" y="1830120"/>
        <a:ext cx="2398905" cy="720000"/>
      </dsp:txXfrm>
    </dsp:sp>
    <dsp:sp modelId="{479807AC-8B0F-4F67-8490-8A0FF853F18E}">
      <dsp:nvSpPr>
        <dsp:cNvPr id="0" name=""/>
        <dsp:cNvSpPr/>
      </dsp:nvSpPr>
      <dsp:spPr>
        <a:xfrm>
          <a:off x="3554408" y="433014"/>
          <a:ext cx="1079507" cy="107950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6280F0-0F0A-416C-9C07-CEF65ED199E5}">
      <dsp:nvSpPr>
        <dsp:cNvPr id="0" name=""/>
        <dsp:cNvSpPr/>
      </dsp:nvSpPr>
      <dsp:spPr>
        <a:xfrm>
          <a:off x="2894709" y="1830120"/>
          <a:ext cx="239890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upporting the </a:t>
          </a:r>
          <a:b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competence development </a:t>
          </a:r>
          <a:b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nd well-being of the staff</a:t>
          </a:r>
          <a:endParaRPr lang="en-US" sz="14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894709" y="1830120"/>
        <a:ext cx="2398905" cy="720000"/>
      </dsp:txXfrm>
    </dsp:sp>
    <dsp:sp modelId="{9837675D-5768-42F6-B6FB-94D0E5AC1EDD}">
      <dsp:nvSpPr>
        <dsp:cNvPr id="0" name=""/>
        <dsp:cNvSpPr/>
      </dsp:nvSpPr>
      <dsp:spPr>
        <a:xfrm>
          <a:off x="6373122" y="433014"/>
          <a:ext cx="1079507" cy="107950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3F8D44-A577-4847-B523-A0D504F49A36}">
      <dsp:nvSpPr>
        <dsp:cNvPr id="0" name=""/>
        <dsp:cNvSpPr/>
      </dsp:nvSpPr>
      <dsp:spPr>
        <a:xfrm>
          <a:off x="5713423" y="1830120"/>
          <a:ext cx="239890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unctionality and development of the quality system</a:t>
          </a:r>
          <a:endParaRPr lang="en-US" sz="14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5713423" y="1830120"/>
        <a:ext cx="2398905" cy="7200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9F965E-DD39-2749-A807-0AA046C8E267}">
      <dsp:nvSpPr>
        <dsp:cNvPr id="0" name=""/>
        <dsp:cNvSpPr/>
      </dsp:nvSpPr>
      <dsp:spPr>
        <a:xfrm>
          <a:off x="0" y="1170674"/>
          <a:ext cx="1178306" cy="471322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2021</a:t>
          </a:r>
        </a:p>
      </dsp:txBody>
      <dsp:txXfrm>
        <a:off x="235661" y="1170674"/>
        <a:ext cx="706984" cy="471322"/>
      </dsp:txXfrm>
    </dsp:sp>
    <dsp:sp modelId="{4EBAD4B0-C045-8043-B82C-A73959C7C5A7}">
      <dsp:nvSpPr>
        <dsp:cNvPr id="0" name=""/>
        <dsp:cNvSpPr/>
      </dsp:nvSpPr>
      <dsp:spPr>
        <a:xfrm>
          <a:off x="1060475" y="1170674"/>
          <a:ext cx="1178306" cy="471322"/>
        </a:xfrm>
        <a:prstGeom prst="chevron">
          <a:avLst/>
        </a:prstGeom>
        <a:gradFill rotWithShape="0">
          <a:gsLst>
            <a:gs pos="0">
              <a:schemeClr val="accent2">
                <a:hueOff val="-1465017"/>
                <a:satOff val="2424"/>
                <a:lumOff val="-3464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-1465017"/>
                <a:satOff val="2424"/>
                <a:lumOff val="-3464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2022</a:t>
          </a:r>
        </a:p>
      </dsp:txBody>
      <dsp:txXfrm>
        <a:off x="1296136" y="1170674"/>
        <a:ext cx="706984" cy="471322"/>
      </dsp:txXfrm>
    </dsp:sp>
    <dsp:sp modelId="{1731967A-894D-4FF7-86F6-568274FFA06B}">
      <dsp:nvSpPr>
        <dsp:cNvPr id="0" name=""/>
        <dsp:cNvSpPr/>
      </dsp:nvSpPr>
      <dsp:spPr>
        <a:xfrm>
          <a:off x="2120951" y="1170674"/>
          <a:ext cx="1178306" cy="471322"/>
        </a:xfrm>
        <a:prstGeom prst="chevron">
          <a:avLst/>
        </a:prstGeom>
        <a:gradFill rotWithShape="0">
          <a:gsLst>
            <a:gs pos="0">
              <a:schemeClr val="accent2">
                <a:hueOff val="-2930033"/>
                <a:satOff val="4848"/>
                <a:lumOff val="-6928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-2930033"/>
                <a:satOff val="4848"/>
                <a:lumOff val="-6928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2023</a:t>
          </a:r>
        </a:p>
      </dsp:txBody>
      <dsp:txXfrm>
        <a:off x="2356612" y="1170674"/>
        <a:ext cx="706984" cy="471322"/>
      </dsp:txXfrm>
    </dsp:sp>
    <dsp:sp modelId="{77AE46E2-D03E-417F-8D27-918F1FC9EE8A}">
      <dsp:nvSpPr>
        <dsp:cNvPr id="0" name=""/>
        <dsp:cNvSpPr/>
      </dsp:nvSpPr>
      <dsp:spPr>
        <a:xfrm>
          <a:off x="3181427" y="1170674"/>
          <a:ext cx="1178306" cy="471322"/>
        </a:xfrm>
        <a:prstGeom prst="chevron">
          <a:avLst/>
        </a:prstGeom>
        <a:gradFill rotWithShape="0">
          <a:gsLst>
            <a:gs pos="0">
              <a:schemeClr val="accent2">
                <a:hueOff val="-4395050"/>
                <a:satOff val="7272"/>
                <a:lumOff val="-10392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-4395050"/>
                <a:satOff val="7272"/>
                <a:lumOff val="-10392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2024</a:t>
          </a:r>
        </a:p>
      </dsp:txBody>
      <dsp:txXfrm>
        <a:off x="3417088" y="1170674"/>
        <a:ext cx="706984" cy="471322"/>
      </dsp:txXfrm>
    </dsp:sp>
    <dsp:sp modelId="{E3518312-BA11-4F63-B001-BCE6104B4A44}">
      <dsp:nvSpPr>
        <dsp:cNvPr id="0" name=""/>
        <dsp:cNvSpPr/>
      </dsp:nvSpPr>
      <dsp:spPr>
        <a:xfrm>
          <a:off x="4241903" y="1170674"/>
          <a:ext cx="1178306" cy="471322"/>
        </a:xfrm>
        <a:prstGeom prst="chevron">
          <a:avLst/>
        </a:prstGeom>
        <a:gradFill rotWithShape="0">
          <a:gsLst>
            <a:gs pos="0">
              <a:schemeClr val="accent2">
                <a:hueOff val="-5860067"/>
                <a:satOff val="9697"/>
                <a:lumOff val="-13856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-5860067"/>
                <a:satOff val="9697"/>
                <a:lumOff val="-13856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2025</a:t>
          </a:r>
        </a:p>
      </dsp:txBody>
      <dsp:txXfrm>
        <a:off x="4477564" y="1170674"/>
        <a:ext cx="706984" cy="471322"/>
      </dsp:txXfrm>
    </dsp:sp>
    <dsp:sp modelId="{DB76B380-FF26-437C-AC16-2AA22BA9EBD0}">
      <dsp:nvSpPr>
        <dsp:cNvPr id="0" name=""/>
        <dsp:cNvSpPr/>
      </dsp:nvSpPr>
      <dsp:spPr>
        <a:xfrm>
          <a:off x="5302379" y="1170674"/>
          <a:ext cx="1178306" cy="471322"/>
        </a:xfrm>
        <a:prstGeom prst="chevron">
          <a:avLst/>
        </a:prstGeom>
        <a:gradFill rotWithShape="0">
          <a:gsLst>
            <a:gs pos="0">
              <a:schemeClr val="accent2">
                <a:hueOff val="-7325083"/>
                <a:satOff val="12121"/>
                <a:lumOff val="-1732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-7325083"/>
                <a:satOff val="12121"/>
                <a:lumOff val="-1732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/>
            <a:t>2026</a:t>
          </a:r>
        </a:p>
      </dsp:txBody>
      <dsp:txXfrm>
        <a:off x="5538040" y="1170674"/>
        <a:ext cx="706984" cy="471322"/>
      </dsp:txXfrm>
    </dsp:sp>
    <dsp:sp modelId="{4ABE3082-F5B7-40F9-8AC5-8403821D5FC2}">
      <dsp:nvSpPr>
        <dsp:cNvPr id="0" name=""/>
        <dsp:cNvSpPr/>
      </dsp:nvSpPr>
      <dsp:spPr>
        <a:xfrm>
          <a:off x="6362855" y="1170674"/>
          <a:ext cx="1178306" cy="471322"/>
        </a:xfrm>
        <a:prstGeom prst="chevron">
          <a:avLst/>
        </a:prstGeom>
        <a:gradFill rotWithShape="0">
          <a:gsLst>
            <a:gs pos="0">
              <a:schemeClr val="accent2">
                <a:hueOff val="-8790100"/>
                <a:satOff val="14545"/>
                <a:lumOff val="-20784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-8790100"/>
                <a:satOff val="14545"/>
                <a:lumOff val="-20784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/>
            <a:t>2027</a:t>
          </a:r>
        </a:p>
      </dsp:txBody>
      <dsp:txXfrm>
        <a:off x="6598516" y="1170674"/>
        <a:ext cx="706984" cy="4713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CCC29D-C729-694F-A788-B5007BCA57F6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40BB66-2831-4C42-9675-9DAB39629B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043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AAFD53-F29D-C94E-BF8B-0D8B7431C954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64E42-DED0-9246-9B1B-B67105F62D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39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873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alto University’s living strate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4084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FI" sz="900" b="1"/>
              <a:t>CONTINUOUSLY</a:t>
            </a:r>
          </a:p>
          <a:p>
            <a:r>
              <a:rPr lang="en-FI" sz="900" b="1"/>
              <a:t>IMPROVING</a:t>
            </a:r>
          </a:p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793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00">
                <a:solidFill>
                  <a:schemeClr val="tx1"/>
                </a:solidFill>
              </a:rPr>
              <a:t>Aalto University Evaluation </a:t>
            </a:r>
            <a:r>
              <a:rPr lang="en-US" sz="900" err="1">
                <a:solidFill>
                  <a:schemeClr val="tx1"/>
                </a:solidFill>
              </a:rPr>
              <a:t>Programme</a:t>
            </a:r>
            <a:r>
              <a:rPr lang="en-US" sz="900">
                <a:solidFill>
                  <a:schemeClr val="tx1"/>
                </a:solidFill>
              </a:rPr>
              <a:t> 2021-2027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90656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i-FI">
              <a:ea typeface="ＭＳ Ｐゴシック" charset="0"/>
              <a:cs typeface="ＭＳ Ｐゴシック" charset="0"/>
            </a:endParaRPr>
          </a:p>
        </p:txBody>
      </p:sp>
      <p:sp>
        <p:nvSpPr>
          <p:cNvPr id="74756" name="Date Placeholder 3"/>
          <p:cNvSpPr>
            <a:spLocks noGrp="1"/>
          </p:cNvSpPr>
          <p:nvPr>
            <p:ph type="dt" sz="quarter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</a:defRPr>
            </a:lvl2pPr>
            <a:lvl3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ヒラギノ角ゴ Pro W3" charset="0"/>
                <a:cs typeface="ヒラギノ角ゴ Pro W3" charset="0"/>
              </a:defRPr>
            </a:lvl3pPr>
            <a:lvl4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ヒラギノ角ゴ Pro W3" charset="0"/>
                <a:cs typeface="ヒラギノ角ゴ Pro W3" charset="0"/>
              </a:defRPr>
            </a:lvl4pPr>
            <a:lvl5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8250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6113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33978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91841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r" defTabSz="4579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724951" algn="l"/>
                <a:tab pos="1449901" algn="l"/>
                <a:tab pos="2174853" algn="l"/>
                <a:tab pos="2899803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ＭＳ Ｐゴシック" charset="0"/>
                <a:cs typeface="Arial Unicode MS" charset="0"/>
              </a:rPr>
              <a:t>11/01/11</a:t>
            </a:r>
          </a:p>
        </p:txBody>
      </p:sp>
      <p:sp>
        <p:nvSpPr>
          <p:cNvPr id="74757" name="Slide Number Placeholder 4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</a:defRPr>
            </a:lvl2pPr>
            <a:lvl3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ヒラギノ角ゴ Pro W3" charset="0"/>
                <a:cs typeface="ヒラギノ角ゴ Pro W3" charset="0"/>
              </a:defRPr>
            </a:lvl3pPr>
            <a:lvl4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ヒラギノ角ゴ Pro W3" charset="0"/>
                <a:cs typeface="ヒラギノ角ゴ Pro W3" charset="0"/>
              </a:defRPr>
            </a:lvl4pPr>
            <a:lvl5pPr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8250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6113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33978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91841" indent="-22893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4951" algn="l"/>
                <a:tab pos="1449901" algn="l"/>
                <a:tab pos="2174853" algn="l"/>
                <a:tab pos="2899803" algn="l"/>
              </a:tabLst>
              <a:defRPr sz="120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r" defTabSz="4579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724951" algn="l"/>
                <a:tab pos="1449901" algn="l"/>
                <a:tab pos="2174853" algn="l"/>
                <a:tab pos="2899803" algn="l"/>
              </a:tabLst>
              <a:defRPr/>
            </a:pPr>
            <a:fld id="{52AFB8F9-9DD0-6B45-B8E7-D38CB7B1711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ＭＳ Ｐゴシック" charset="0"/>
                <a:cs typeface="Arial Unicode MS" charset="0"/>
              </a:rPr>
              <a:pPr marL="0" marR="0" lvl="0" indent="0" algn="r" defTabSz="4579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24951" algn="l"/>
                  <a:tab pos="1449901" algn="l"/>
                  <a:tab pos="2174853" algn="l"/>
                  <a:tab pos="2899803" algn="l"/>
                </a:tabLst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ＭＳ Ｐゴシック" charset="0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7212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2393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0050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278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9783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7764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3620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5492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64E42-DED0-9246-9B1B-B67105F62D4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66083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64E42-DED0-9246-9B1B-B67105F62D4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10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.png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png"/><Relationship Id="rId3" Type="http://schemas.openxmlformats.org/officeDocument/2006/relationships/hyperlink" Target="https://www.facebook.com/aaltobiz/" TargetMode="External"/><Relationship Id="rId7" Type="http://schemas.openxmlformats.org/officeDocument/2006/relationships/hyperlink" Target="https://twitter.com/AaltoBIZ" TargetMode="External"/><Relationship Id="rId12" Type="http://schemas.openxmlformats.org/officeDocument/2006/relationships/image" Target="../media/image25.png"/><Relationship Id="rId2" Type="http://schemas.openxmlformats.org/officeDocument/2006/relationships/hyperlink" Target="http://biz.aalto.fi/" TargetMode="External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2.png"/><Relationship Id="rId11" Type="http://schemas.openxmlformats.org/officeDocument/2006/relationships/hyperlink" Target="http://www.aalto.fi/snapchat/" TargetMode="External"/><Relationship Id="rId5" Type="http://schemas.openxmlformats.org/officeDocument/2006/relationships/hyperlink" Target="https://www.instagram.com/aaltouniversity/" TargetMode="External"/><Relationship Id="rId10" Type="http://schemas.openxmlformats.org/officeDocument/2006/relationships/image" Target="../media/image24.png"/><Relationship Id="rId4" Type="http://schemas.openxmlformats.org/officeDocument/2006/relationships/image" Target="../media/image21.png"/><Relationship Id="rId9" Type="http://schemas.openxmlformats.org/officeDocument/2006/relationships/hyperlink" Target="https://www.youtube.com/user/aaltouniversity" TargetMode="External"/><Relationship Id="rId14" Type="http://schemas.openxmlformats.org/officeDocument/2006/relationships/image" Target="../media/image17.emf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png"/><Relationship Id="rId3" Type="http://schemas.openxmlformats.org/officeDocument/2006/relationships/hyperlink" Target="https://www.facebook.com/aaltobiz/" TargetMode="External"/><Relationship Id="rId7" Type="http://schemas.openxmlformats.org/officeDocument/2006/relationships/hyperlink" Target="https://twitter.com/AaltoBIZ" TargetMode="External"/><Relationship Id="rId12" Type="http://schemas.openxmlformats.org/officeDocument/2006/relationships/image" Target="../media/image25.png"/><Relationship Id="rId2" Type="http://schemas.openxmlformats.org/officeDocument/2006/relationships/hyperlink" Target="http://biz.aalto.fi/" TargetMode="External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2.png"/><Relationship Id="rId11" Type="http://schemas.openxmlformats.org/officeDocument/2006/relationships/hyperlink" Target="http://www.aalto.fi/snapchat/" TargetMode="External"/><Relationship Id="rId5" Type="http://schemas.openxmlformats.org/officeDocument/2006/relationships/hyperlink" Target="https://www.instagram.com/aaltouniversity/" TargetMode="External"/><Relationship Id="rId10" Type="http://schemas.openxmlformats.org/officeDocument/2006/relationships/image" Target="../media/image24.png"/><Relationship Id="rId4" Type="http://schemas.openxmlformats.org/officeDocument/2006/relationships/image" Target="../media/image21.png"/><Relationship Id="rId9" Type="http://schemas.openxmlformats.org/officeDocument/2006/relationships/hyperlink" Target="https://www.youtube.com/user/aaltouniversity" TargetMode="External"/><Relationship Id="rId14" Type="http://schemas.openxmlformats.org/officeDocument/2006/relationships/image" Target="../media/image27.png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hyperlink" Target="http://twitter.com/aaltouniversity" TargetMode="External"/><Relationship Id="rId13" Type="http://schemas.openxmlformats.org/officeDocument/2006/relationships/image" Target="../media/image36.png"/><Relationship Id="rId3" Type="http://schemas.openxmlformats.org/officeDocument/2006/relationships/image" Target="../media/image31.emf"/><Relationship Id="rId7" Type="http://schemas.openxmlformats.org/officeDocument/2006/relationships/image" Target="../media/image33.png"/><Relationship Id="rId12" Type="http://schemas.openxmlformats.org/officeDocument/2006/relationships/hyperlink" Target="https://www.aalto.fi/snapchat/" TargetMode="External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6" Type="http://schemas.openxmlformats.org/officeDocument/2006/relationships/hyperlink" Target="http://instagram.com/aaltouniversity" TargetMode="External"/><Relationship Id="rId11" Type="http://schemas.openxmlformats.org/officeDocument/2006/relationships/image" Target="../media/image35.png"/><Relationship Id="rId5" Type="http://schemas.openxmlformats.org/officeDocument/2006/relationships/image" Target="../media/image32.png"/><Relationship Id="rId15" Type="http://schemas.openxmlformats.org/officeDocument/2006/relationships/image" Target="../media/image37.png"/><Relationship Id="rId10" Type="http://schemas.openxmlformats.org/officeDocument/2006/relationships/hyperlink" Target="https://www.youtube.com/user/aaltouniversity" TargetMode="External"/><Relationship Id="rId4" Type="http://schemas.openxmlformats.org/officeDocument/2006/relationships/hyperlink" Target="http://www.facebook.com/aaltouniversity" TargetMode="External"/><Relationship Id="rId9" Type="http://schemas.openxmlformats.org/officeDocument/2006/relationships/image" Target="../media/image34.png"/><Relationship Id="rId14" Type="http://schemas.openxmlformats.org/officeDocument/2006/relationships/hyperlink" Target="https://www.linkedin.com/school/aalto-university/" TargetMode="Externa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8.png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26.png"/><Relationship Id="rId3" Type="http://schemas.openxmlformats.org/officeDocument/2006/relationships/hyperlink" Target="https://www.facebook.com/aaltobiz/" TargetMode="External"/><Relationship Id="rId7" Type="http://schemas.openxmlformats.org/officeDocument/2006/relationships/hyperlink" Target="https://twitter.com/AaltoBIZ" TargetMode="External"/><Relationship Id="rId12" Type="http://schemas.openxmlformats.org/officeDocument/2006/relationships/image" Target="../media/image25.png"/><Relationship Id="rId2" Type="http://schemas.openxmlformats.org/officeDocument/2006/relationships/hyperlink" Target="http://biz.aalto.fi/" TargetMode="External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2.png"/><Relationship Id="rId11" Type="http://schemas.openxmlformats.org/officeDocument/2006/relationships/hyperlink" Target="http://www.aalto.fi/snapchat/" TargetMode="External"/><Relationship Id="rId5" Type="http://schemas.openxmlformats.org/officeDocument/2006/relationships/hyperlink" Target="https://www.instagram.com/aaltouniversity/" TargetMode="External"/><Relationship Id="rId10" Type="http://schemas.openxmlformats.org/officeDocument/2006/relationships/image" Target="../media/image24.png"/><Relationship Id="rId4" Type="http://schemas.openxmlformats.org/officeDocument/2006/relationships/image" Target="../media/image21.png"/><Relationship Id="rId9" Type="http://schemas.openxmlformats.org/officeDocument/2006/relationships/hyperlink" Target="https://www.youtube.com/user/aaltouniversity" TargetMode="External"/><Relationship Id="rId14" Type="http://schemas.openxmlformats.org/officeDocument/2006/relationships/image" Target="../media/image52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6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23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6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374" b="1" spc="-146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3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6867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8447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428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2494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4718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95066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79870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30281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005EB8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46383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EF334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7" y="3986773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4165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FFCD0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204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3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374" b="1" spc="-146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69501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6" y="1491967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005EB8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fi-FI" noProof="0"/>
              <a:t>Drag picture to placeholder or click icon to add</a:t>
            </a:r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2357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fi-FI" noProof="0"/>
              <a:t>Drag picture to placeholder or click icon to add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91967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EF334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503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fi-FI" noProof="0"/>
              <a:t>Drag picture to placeholder or click icon to add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70029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FFCD0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6" y="4056628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7696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10307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6476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140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3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33912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1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77116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1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75110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8495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3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70028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374" b="1" spc="-146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6" y="4056628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2461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0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6379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80878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95213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8151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11982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72137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09472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07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7752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7" y="3986773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833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434202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01802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9964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6" y="1491967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5684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91967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8371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70029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6" y="4056628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22378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80516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49343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97042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3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41865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1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94623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1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6244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2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57282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87047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0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54667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75801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774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99257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99641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83784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26204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97055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3365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2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6063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7" y="3986773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81965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3166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6" y="1491967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91135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91967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74392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6" y="1470029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860" b="1" spc="-162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6" y="4056628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1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6724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13421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91301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6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6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80073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3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69230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1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6987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624" b="1" spc="-7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5" y="1145992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558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1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57723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98902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0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50333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27474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9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12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9" indent="-172047">
              <a:buFont typeface="Arial"/>
              <a:buChar char="•"/>
              <a:defRPr sz="1620">
                <a:latin typeface="Georgia"/>
              </a:defRPr>
            </a:lvl2pPr>
            <a:lvl3pPr marL="373253" indent="-186627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8" indent="-157466">
              <a:buFont typeface="Arial"/>
              <a:buChar char="•"/>
              <a:defRPr sz="1134" baseline="0">
                <a:latin typeface="Georgia"/>
              </a:defRPr>
            </a:lvl4pPr>
            <a:lvl5pPr marL="880644" indent="-185169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  <a:p>
            <a:pPr lvl="3"/>
            <a:r>
              <a:rPr lang="fi-FI" err="1"/>
              <a:t>Four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  <a:p>
            <a:pPr lvl="4"/>
            <a:r>
              <a:rPr lang="fi-FI" err="1"/>
              <a:t>Fif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9" indent="-172047">
              <a:buFont typeface="Arial"/>
              <a:buChar char="•"/>
              <a:defRPr sz="1620">
                <a:latin typeface="Georgia"/>
              </a:defRPr>
            </a:lvl2pPr>
            <a:lvl3pPr marL="373253" indent="-186627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8" indent="-157466">
              <a:buFont typeface="Arial"/>
              <a:buChar char="•"/>
              <a:defRPr sz="1134" baseline="0">
                <a:latin typeface="Georgia"/>
              </a:defRPr>
            </a:lvl4pPr>
            <a:lvl5pPr marL="880644" indent="-185169">
              <a:buFont typeface="Courier New"/>
              <a:buChar char="o"/>
              <a:defRPr sz="1053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3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6548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32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_img_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546350" y="1838634"/>
            <a:ext cx="2286000" cy="41639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i-FI" sz="2106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1_Empty_img_bg</a:t>
            </a:r>
            <a:endParaRPr lang="fi-FI" sz="1094">
              <a:solidFill>
                <a:prstClr val="black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21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FFFFFF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61031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088" y="366714"/>
            <a:ext cx="7988300" cy="810816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fi-FI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144400" y="4608900"/>
            <a:ext cx="1537200" cy="286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578"/>
              </a:lnSpc>
              <a:spcBef>
                <a:spcPts val="0"/>
              </a:spcBef>
              <a:buNone/>
              <a:defRPr sz="578" b="1">
                <a:solidFill>
                  <a:schemeClr val="bg2"/>
                </a:solidFill>
              </a:defRPr>
            </a:lvl1pPr>
            <a:lvl2pPr marL="165878" indent="-62687">
              <a:defRPr lang="en-US" sz="57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5878" indent="-56900">
              <a:buFont typeface="Symbol" pitchFamily="18" charset="2"/>
              <a:buNone/>
              <a:defRPr sz="547"/>
            </a:lvl3pPr>
            <a:lvl4pPr marL="165878" indent="-56900">
              <a:defRPr sz="547"/>
            </a:lvl4pPr>
            <a:lvl5pPr marL="165878" indent="-56900">
              <a:buFont typeface="Symbol" pitchFamily="18" charset="2"/>
              <a:buChar char="-"/>
              <a:defRPr sz="547"/>
            </a:lvl5pPr>
            <a:lvl6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6pPr>
            <a:lvl7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7pPr>
            <a:lvl8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8pPr>
            <a:lvl9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0" y="4608900"/>
            <a:ext cx="1702800" cy="286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578"/>
              </a:lnSpc>
              <a:spcBef>
                <a:spcPts val="0"/>
              </a:spcBef>
              <a:buNone/>
              <a:defRPr sz="578" b="1">
                <a:solidFill>
                  <a:schemeClr val="bg2"/>
                </a:solidFill>
              </a:defRPr>
            </a:lvl1pPr>
            <a:lvl2pPr marL="165878" indent="-62687">
              <a:defRPr lang="en-US" sz="57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5878" indent="-56900">
              <a:buFont typeface="Symbol" pitchFamily="18" charset="2"/>
              <a:buNone/>
              <a:defRPr sz="547"/>
            </a:lvl3pPr>
            <a:lvl4pPr marL="165878" indent="-56900">
              <a:defRPr sz="547"/>
            </a:lvl4pPr>
            <a:lvl5pPr marL="165878" indent="-56900">
              <a:buFont typeface="Symbol" pitchFamily="18" charset="2"/>
              <a:buChar char="-"/>
              <a:defRPr sz="547"/>
            </a:lvl5pPr>
            <a:lvl6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6pPr>
            <a:lvl7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7pPr>
            <a:lvl8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8pPr>
            <a:lvl9pPr marL="166212" indent="-56862">
              <a:spcBef>
                <a:spcPts val="183"/>
              </a:spcBef>
              <a:buFont typeface="Symbol" pitchFamily="18" charset="2"/>
              <a:buChar char="-"/>
              <a:defRPr sz="547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FF1B12-A75E-4D87-8AD0-59A704646EF3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E61255-CF88-4960-9EBC-1D0C61F19FC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14390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18000" y="1"/>
            <a:ext cx="9144000" cy="516429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555498" fontAlgn="auto">
              <a:spcBef>
                <a:spcPts val="0"/>
              </a:spcBef>
              <a:spcAft>
                <a:spcPts val="0"/>
              </a:spcAft>
              <a:defRPr/>
            </a:pPr>
            <a:endParaRPr lang="fi-FI" sz="1094" kern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832" b="1" spc="-1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9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70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0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9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62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6538730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Header Slide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12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616CEDF-8284-7A4F-A2B1-5FB64A23A52C}"/>
              </a:ext>
            </a:extLst>
          </p:cNvPr>
          <p:cNvSpPr/>
          <p:nvPr userDrawn="1"/>
        </p:nvSpPr>
        <p:spPr>
          <a:xfrm>
            <a:off x="-753415" y="-920839"/>
            <a:ext cx="4623516" cy="46235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215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C059ED-DFE3-B543-B939-3A849F2E6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257" y="3483735"/>
            <a:ext cx="1701380" cy="164688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31800" y="1638135"/>
            <a:ext cx="7948556" cy="663264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414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1802" y="2571750"/>
            <a:ext cx="7998597" cy="50138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520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No Image - Sub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5966374" y="4215388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15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66374" y="4509807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15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33446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5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624" b="1" spc="-7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5" y="1135452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6828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12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1338A83-C750-3041-9AD6-6E8E4FC47B7C}"/>
              </a:ext>
            </a:extLst>
          </p:cNvPr>
          <p:cNvSpPr/>
          <p:nvPr userDrawn="1"/>
        </p:nvSpPr>
        <p:spPr>
          <a:xfrm>
            <a:off x="-753415" y="-920839"/>
            <a:ext cx="4623516" cy="46235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215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400" y="1069875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4860"/>
              </a:lnSpc>
              <a:defRPr sz="486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400" y="1954474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20"/>
              </a:lnSpc>
              <a:buNone/>
              <a:defRPr sz="2520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Sub 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400" y="1761537"/>
            <a:ext cx="379683" cy="0"/>
          </a:xfrm>
          <a:prstGeom prst="line">
            <a:avLst/>
          </a:prstGeom>
          <a:ln w="571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400" y="2967307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20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400" y="3261726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20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564419" y="0"/>
            <a:ext cx="4579582" cy="5143500"/>
          </a:xfrm>
          <a:prstGeom prst="rect">
            <a:avLst/>
          </a:prstGeom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 b="1" i="0" baseline="0">
                <a:solidFill>
                  <a:schemeClr val="bg1">
                    <a:alpha val="62000"/>
                  </a:schemeClr>
                </a:solidFill>
              </a:defRPr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en-US"/>
              <a:t>Click icon to add image.</a:t>
            </a:r>
          </a:p>
          <a:p>
            <a:r>
              <a:rPr lang="fi-FI" err="1"/>
              <a:t>Fit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0BC9C8-1F9A-DD43-A858-D63BC85598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257" y="3483735"/>
            <a:ext cx="1701380" cy="164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096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30" y="125416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6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30" y="1234540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ts val="234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44317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13387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Body slide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30" y="125416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6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30" y="2024418"/>
            <a:ext cx="8492897" cy="22595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ts val="234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44317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292330" y="1234540"/>
            <a:ext cx="8492897" cy="6488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ts val="234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2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Sub Headlin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635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Body slide - 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882" y="130862"/>
            <a:ext cx="8497093" cy="101629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87339" y="1347789"/>
            <a:ext cx="4150122" cy="2936212"/>
          </a:xfrm>
          <a:prstGeom prst="rect">
            <a:avLst/>
          </a:prstGeom>
        </p:spPr>
        <p:txBody>
          <a:bodyPr lIns="0" tIns="0" rIns="0" bIns="0"/>
          <a:lstStyle>
            <a:lvl1pPr marL="308610" marR="0" indent="-308610" algn="l" defTabSz="617220" rtl="0" eaLnBrk="1" fontAlgn="auto" latinLnBrk="0" hangingPunct="1">
              <a:lnSpc>
                <a:spcPts val="198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706541" y="1347789"/>
            <a:ext cx="4078684" cy="2936212"/>
          </a:xfrm>
          <a:prstGeom prst="rect">
            <a:avLst/>
          </a:prstGeom>
        </p:spPr>
        <p:txBody>
          <a:bodyPr lIns="0" tIns="0" rIns="0" bIns="0"/>
          <a:lstStyle>
            <a:lvl1pPr marL="308610" marR="0" indent="-308610" algn="l" defTabSz="617220" rtl="0" eaLnBrk="1" fontAlgn="auto" latinLnBrk="0" hangingPunct="1">
              <a:lnSpc>
                <a:spcPts val="198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97520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pos="181">
          <p15:clr>
            <a:srgbClr val="FBAE40"/>
          </p15:clr>
        </p15:guide>
        <p15:guide id="9" orient="horz" pos="849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Body slide - Black tex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5" y="0"/>
            <a:ext cx="4433207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60" b="1" baseline="0">
                <a:solidFill>
                  <a:schemeClr val="bg1">
                    <a:lumMod val="85000"/>
                    <a:alpha val="62000"/>
                  </a:schemeClr>
                </a:solidFill>
              </a:defRPr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image</a:t>
            </a:r>
            <a:br>
              <a:rPr lang="fi-FI"/>
            </a:br>
            <a:br>
              <a:rPr lang="fi-FI"/>
            </a:br>
            <a:r>
              <a:rPr lang="fi-FI" err="1"/>
              <a:t>Fit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40" y="1358537"/>
            <a:ext cx="4052221" cy="29254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ts val="234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90" b="1" smtClean="0"/>
            </a:lvl1pPr>
            <a:lvl2pPr marL="308610" indent="0">
              <a:buFontTx/>
              <a:buNone/>
              <a:defRPr sz="1890"/>
            </a:lvl2pPr>
            <a:lvl3pPr marL="565785" indent="0">
              <a:buFontTx/>
              <a:buNone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124851"/>
            <a:ext cx="4052221" cy="10414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6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</p:spTree>
    <p:extLst>
      <p:ext uri="{BB962C8B-B14F-4D97-AF65-F5344CB8AC3E}">
        <p14:creationId xmlns:p14="http://schemas.microsoft.com/office/powerpoint/2010/main" val="1653070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12"/>
          </a:p>
        </p:txBody>
      </p:sp>
      <p:sp>
        <p:nvSpPr>
          <p:cNvPr id="6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5" y="0"/>
            <a:ext cx="4433207" cy="5143500"/>
          </a:xfrm>
          <a:prstGeom prst="rect">
            <a:avLst/>
          </a:prstGeom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 b="1" baseline="0">
                <a:solidFill>
                  <a:schemeClr val="bg1">
                    <a:alpha val="62000"/>
                  </a:schemeClr>
                </a:solidFill>
              </a:defRPr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en-US"/>
              <a:t>Click icon to add image.</a:t>
            </a:r>
            <a:br>
              <a:rPr lang="en-US"/>
            </a:br>
            <a:br>
              <a:rPr lang="en-US"/>
            </a:br>
            <a:r>
              <a:rPr lang="fi-FI" err="1"/>
              <a:t>Fit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4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600"/>
              </a:lnSpc>
              <a:buNone/>
              <a:defRPr sz="297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auris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vitae </a:t>
            </a:r>
            <a:r>
              <a:rPr lang="en-US" err="1"/>
              <a:t>arcu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arcu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vitae, consectetuer et </a:t>
            </a:r>
            <a:r>
              <a:rPr lang="en-US" err="1"/>
              <a:t>venenat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. 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868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Divi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12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4CE800F-533F-7D4F-860F-9D609D5B3208}"/>
              </a:ext>
            </a:extLst>
          </p:cNvPr>
          <p:cNvSpPr/>
          <p:nvPr userDrawn="1"/>
        </p:nvSpPr>
        <p:spPr>
          <a:xfrm>
            <a:off x="-753415" y="-920839"/>
            <a:ext cx="4623516" cy="46235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215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954510-12C3-844B-9445-C52B42D972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878" y="4282227"/>
            <a:ext cx="2026019" cy="880590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87340" y="1759426"/>
            <a:ext cx="7669159" cy="1352265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ts val="3600"/>
              </a:lnSpc>
              <a:spcBef>
                <a:spcPts val="0"/>
              </a:spcBef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Divider – Headline</a:t>
            </a:r>
          </a:p>
        </p:txBody>
      </p:sp>
    </p:spTree>
    <p:extLst>
      <p:ext uri="{BB962C8B-B14F-4D97-AF65-F5344CB8AC3E}">
        <p14:creationId xmlns:p14="http://schemas.microsoft.com/office/powerpoint/2010/main" val="750746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Body slide - Text -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Kuvan paikkamerkki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-1"/>
            <a:ext cx="9144000" cy="51435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i-FI" err="1"/>
              <a:t>Change</a:t>
            </a:r>
            <a:r>
              <a:rPr lang="fi-FI"/>
              <a:t>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1347790"/>
            <a:ext cx="4150122" cy="29389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ts val="234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90" b="1" smtClean="0">
                <a:solidFill>
                  <a:srgbClr val="FFFFFF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>
                <a:solidFill>
                  <a:srgbClr val="FFFFFF"/>
                </a:solidFill>
              </a:defRPr>
            </a:lvl2pPr>
            <a:lvl3pPr marL="724377" indent="-158592">
              <a:buFont typeface="Arial" panose="020B0604020202020204" pitchFamily="34" charset="0"/>
              <a:buChar char="•"/>
              <a:defRPr sz="1440">
                <a:solidFill>
                  <a:srgbClr val="FFFFFF"/>
                </a:solidFill>
              </a:defRPr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125416"/>
            <a:ext cx="8497093" cy="8998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600"/>
              </a:lnSpc>
              <a:buNone/>
              <a:defRPr sz="3600" b="1" baseline="0">
                <a:solidFill>
                  <a:schemeClr val="bg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706542" y="1347789"/>
            <a:ext cx="4077891" cy="29406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1">
                <a:solidFill>
                  <a:srgbClr val="FFFFFF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>
                <a:solidFill>
                  <a:srgbClr val="FFFFFF"/>
                </a:solidFill>
              </a:defRPr>
            </a:lvl2pPr>
            <a:lvl3pPr marL="724377" indent="-158592">
              <a:buFont typeface="Arial" panose="020B0604020202020204" pitchFamily="34" charset="0"/>
              <a:buChar char="•"/>
              <a:defRPr sz="1440">
                <a:solidFill>
                  <a:srgbClr val="FFFFFF"/>
                </a:solidFill>
              </a:defRPr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247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5">
          <p15:clr>
            <a:srgbClr val="FBAE40"/>
          </p15:clr>
        </p15:guide>
        <p15:guide id="2" pos="2965">
          <p15:clr>
            <a:srgbClr val="FBAE40"/>
          </p15:clr>
        </p15:guide>
        <p15:guide id="3" orient="horz" pos="849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6450" y="0"/>
            <a:ext cx="9160449" cy="5143500"/>
          </a:xfrm>
          <a:prstGeom prst="rect">
            <a:avLst/>
          </a:prstGeom>
          <a:solidFill>
            <a:srgbClr val="FFC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58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2CE01CF-A79F-784C-8F75-EC32DC6B0079}"/>
              </a:ext>
            </a:extLst>
          </p:cNvPr>
          <p:cNvSpPr/>
          <p:nvPr userDrawn="1"/>
        </p:nvSpPr>
        <p:spPr>
          <a:xfrm>
            <a:off x="-1249251" y="-2067059"/>
            <a:ext cx="4623516" cy="46235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215"/>
          </a:p>
        </p:txBody>
      </p:sp>
      <p:sp>
        <p:nvSpPr>
          <p:cNvPr id="12" name="Otsikko 1">
            <a:hlinkClick r:id="rId2"/>
          </p:cNvPr>
          <p:cNvSpPr txBox="1">
            <a:spLocks/>
          </p:cNvSpPr>
          <p:nvPr userDrawn="1"/>
        </p:nvSpPr>
        <p:spPr>
          <a:xfrm>
            <a:off x="3717367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620" spc="0" baseline="0">
                <a:latin typeface="Arial"/>
                <a:cs typeface="Arial"/>
              </a:rPr>
              <a:t>aalto.fi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094341" y="2868217"/>
            <a:ext cx="2955323" cy="353760"/>
            <a:chOff x="4484925" y="3824288"/>
            <a:chExt cx="3940431" cy="471680"/>
          </a:xfrm>
        </p:grpSpPr>
        <p:pic>
          <p:nvPicPr>
            <p:cNvPr id="7" name="Picture 6" descr="FB.png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4925" y="3824416"/>
              <a:ext cx="471553" cy="471552"/>
            </a:xfrm>
            <a:prstGeom prst="rect">
              <a:avLst/>
            </a:prstGeom>
          </p:spPr>
        </p:pic>
        <p:pic>
          <p:nvPicPr>
            <p:cNvPr id="8" name="Picture 7" descr="IG.png">
              <a:hlinkClick r:id="rId5"/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4502" y="3824416"/>
              <a:ext cx="471553" cy="471552"/>
            </a:xfrm>
            <a:prstGeom prst="rect">
              <a:avLst/>
            </a:prstGeom>
          </p:spPr>
        </p:pic>
        <p:pic>
          <p:nvPicPr>
            <p:cNvPr id="9" name="Picture 8" descr="Twitter.png">
              <a:hlinkClick r:id="rId7"/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4079" y="3824416"/>
              <a:ext cx="471553" cy="471552"/>
            </a:xfrm>
            <a:prstGeom prst="rect">
              <a:avLst/>
            </a:prstGeom>
          </p:spPr>
        </p:pic>
        <p:pic>
          <p:nvPicPr>
            <p:cNvPr id="10" name="Picture 9" descr="Youtube.png">
              <a:hlinkClick r:id="rId9"/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3656" y="3824416"/>
              <a:ext cx="471553" cy="471552"/>
            </a:xfrm>
            <a:prstGeom prst="rect">
              <a:avLst/>
            </a:prstGeom>
          </p:spPr>
        </p:pic>
        <p:pic>
          <p:nvPicPr>
            <p:cNvPr id="11" name="Picture 10" descr="SC.png">
              <a:hlinkClick r:id="rId11"/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3233" y="3824416"/>
              <a:ext cx="471553" cy="471552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2812" y="3824288"/>
              <a:ext cx="542544" cy="457200"/>
            </a:xfrm>
            <a:prstGeom prst="rect">
              <a:avLst/>
            </a:prstGeom>
          </p:spPr>
        </p:pic>
      </p:grp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90" y="1364642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308610" indent="0">
              <a:buNone/>
              <a:defRPr/>
            </a:lvl2pPr>
          </a:lstStyle>
          <a:p>
            <a:pPr lvl="0"/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text</a:t>
            </a:r>
            <a:endParaRPr lang="fi-FI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AF3F2F-BA4A-A443-B54D-FDD3EB6667F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2257" y="1"/>
            <a:ext cx="1701380" cy="164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261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7">
          <p15:clr>
            <a:srgbClr val="FBAE40"/>
          </p15:clr>
        </p15:guide>
        <p15:guide id="2" orient="horz" pos="2028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0" y="285750"/>
            <a:ext cx="8085600" cy="8001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90000"/>
              </a:lnSpc>
              <a:defRPr sz="3240" b="1" spc="-81">
                <a:solidFill>
                  <a:srgbClr val="0065BD"/>
                </a:solidFill>
              </a:defRPr>
            </a:lvl1pPr>
          </a:lstStyle>
          <a:p>
            <a:r>
              <a:rPr lang="fi-FI" err="1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3400" y="1200150"/>
            <a:ext cx="8085600" cy="29146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Arial"/>
                <a:cs typeface="Arial"/>
              </a:defRPr>
            </a:lvl1pPr>
            <a:lvl2pPr marL="144018" indent="-144018">
              <a:buFont typeface="Arial"/>
              <a:buChar char="•"/>
              <a:defRPr sz="1458">
                <a:latin typeface="Georgia"/>
                <a:cs typeface="Georgia"/>
              </a:defRPr>
            </a:lvl2pPr>
            <a:lvl3pPr marL="360045" indent="-216027">
              <a:buFont typeface="Lucida Grande"/>
              <a:buChar char="-"/>
              <a:defRPr sz="1215" i="1">
                <a:latin typeface="Georgia"/>
                <a:cs typeface="Georgia"/>
              </a:defRPr>
            </a:lvl3pPr>
            <a:lvl4pPr marL="586359" indent="-154305">
              <a:buFont typeface="Arial"/>
              <a:buChar char="•"/>
              <a:defRPr sz="1053">
                <a:latin typeface="Georgia"/>
                <a:cs typeface="Georgia"/>
              </a:defRPr>
            </a:lvl4pPr>
            <a:lvl5pPr marL="802386" indent="-144018">
              <a:buFont typeface="Courier New"/>
              <a:buChar char="o"/>
              <a:tabLst/>
              <a:defRPr sz="972"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557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624" b="1" spc="-7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5" y="1135452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75196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eader Slide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12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31800" y="1638135"/>
            <a:ext cx="7948556" cy="663264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bg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1802" y="2571750"/>
            <a:ext cx="7998597" cy="50138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2520" b="1" i="0" baseline="0">
                <a:solidFill>
                  <a:schemeClr val="bg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No Image - Sub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5966374" y="4215388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15" b="1" i="0" baseline="0">
                <a:solidFill>
                  <a:schemeClr val="bg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66374" y="4509807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15" b="1" i="0" baseline="0">
                <a:solidFill>
                  <a:schemeClr val="bg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467896"/>
            <a:ext cx="1734813" cy="1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661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58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12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400" y="896700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400" y="1781298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520" b="1" i="0" baseline="0">
                <a:solidFill>
                  <a:schemeClr val="bg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400" y="2794133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20" b="1" i="0" baseline="0">
                <a:solidFill>
                  <a:schemeClr val="bg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400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20" b="1" i="0" baseline="0">
                <a:solidFill>
                  <a:schemeClr val="bg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564419" y="0"/>
            <a:ext cx="4579582" cy="5143500"/>
          </a:xfrm>
          <a:prstGeom prst="rect">
            <a:avLst/>
          </a:prstGeom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 b="1" i="0" baseline="0">
                <a:solidFill>
                  <a:schemeClr val="bg1">
                    <a:alpha val="62000"/>
                  </a:schemeClr>
                </a:solidFill>
              </a:defRPr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en-US"/>
              <a:t>Click icon to add image.</a:t>
            </a:r>
          </a:p>
          <a:p>
            <a:r>
              <a:rPr lang="fi-FI" err="1"/>
              <a:t>Fit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467896"/>
            <a:ext cx="1734813" cy="1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633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30" y="28438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30" y="1241468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44317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C366827-B13F-41D2-9BB1-86D6952FE7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B081CECA-2419-49BC-A865-E26F838DFB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75CA6814-F1E3-4289-929D-E2AEACCAF6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084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Body slide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30" y="28437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30" y="2024418"/>
            <a:ext cx="8492897" cy="22595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44317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292330" y="1199905"/>
            <a:ext cx="8492897" cy="6488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2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Sub Headline</a:t>
            </a:r>
          </a:p>
          <a:p>
            <a:pPr lvl="0"/>
            <a:endParaRPr lang="en-US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5F98E76-565B-438E-BE24-AF36CE784A6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0477500B-A8BC-45B6-BA85-A082FC8528F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4A736A4D-A5BC-4E4F-9FD0-C4BC6EEC98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926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Body slide - 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882" y="26955"/>
            <a:ext cx="8497093" cy="101629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87339" y="1347789"/>
            <a:ext cx="4150122" cy="2936212"/>
          </a:xfrm>
          <a:prstGeom prst="rect">
            <a:avLst/>
          </a:prstGeom>
        </p:spPr>
        <p:txBody>
          <a:bodyPr lIns="0" tIns="0" rIns="0" bIns="0"/>
          <a:lstStyle>
            <a:lvl1pPr marL="308610" marR="0" indent="-30861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706541" y="1347789"/>
            <a:ext cx="4078684" cy="2936212"/>
          </a:xfrm>
          <a:prstGeom prst="rect">
            <a:avLst/>
          </a:prstGeom>
        </p:spPr>
        <p:txBody>
          <a:bodyPr lIns="0" tIns="0" rIns="0" bIns="0"/>
          <a:lstStyle>
            <a:lvl1pPr marL="308610" marR="0" indent="-30861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90" b="1" baseline="0">
                <a:solidFill>
                  <a:schemeClr val="tx1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/>
            </a:lvl2pPr>
            <a:lvl3pPr marL="724377" indent="-158592">
              <a:buFont typeface="Arial" panose="020B0604020202020204" pitchFamily="34" charset="0"/>
              <a:buChar char="•"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ACE9B33-D0C7-4AF1-A02A-1559773A78A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F7430A1-7AEB-4722-97B3-51719F6057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5B56DD1-CE07-4F8B-9EEB-5CFC86C5CC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042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pos="181">
          <p15:clr>
            <a:srgbClr val="FBAE40"/>
          </p15:clr>
        </p15:guide>
        <p15:guide id="9" orient="horz" pos="849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Body slide - Black tex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5" y="0"/>
            <a:ext cx="4433207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60" b="1" baseline="0">
                <a:solidFill>
                  <a:schemeClr val="bg1">
                    <a:lumMod val="85000"/>
                    <a:alpha val="62000"/>
                  </a:schemeClr>
                </a:solidFill>
              </a:defRPr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image</a:t>
            </a:r>
            <a:br>
              <a:rPr lang="fi-FI"/>
            </a:br>
            <a:br>
              <a:rPr lang="fi-FI"/>
            </a:br>
            <a:r>
              <a:rPr lang="fi-FI" err="1"/>
              <a:t>Fit</a:t>
            </a:r>
            <a:r>
              <a:rPr lang="fi-FI"/>
              <a:t> the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40" y="1358537"/>
            <a:ext cx="4052221" cy="29254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90" b="1" smtClean="0"/>
            </a:lvl1pPr>
            <a:lvl2pPr marL="308610" indent="0">
              <a:buFontTx/>
              <a:buNone/>
              <a:defRPr sz="1890"/>
            </a:lvl2pPr>
            <a:lvl3pPr marL="565785" indent="0">
              <a:buFontTx/>
              <a:buNone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34800"/>
            <a:ext cx="4052221" cy="10414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EF163B2-18E8-724A-BF95-78F551D83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9311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12"/>
          </a:p>
        </p:txBody>
      </p:sp>
      <p:sp>
        <p:nvSpPr>
          <p:cNvPr id="6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5" y="0"/>
            <a:ext cx="4433207" cy="5143500"/>
          </a:xfrm>
          <a:prstGeom prst="rect">
            <a:avLst/>
          </a:prstGeom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 b="1" baseline="0">
                <a:solidFill>
                  <a:schemeClr val="bg1">
                    <a:alpha val="62000"/>
                  </a:schemeClr>
                </a:solidFill>
              </a:defRPr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en-US"/>
              <a:t>Click icon to add image.</a:t>
            </a:r>
            <a:br>
              <a:rPr lang="en-US"/>
            </a:br>
            <a:br>
              <a:rPr lang="en-US"/>
            </a:br>
            <a:r>
              <a:rPr lang="fi-FI" err="1"/>
              <a:t>Fit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4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970" b="1">
                <a:solidFill>
                  <a:schemeClr val="bg1"/>
                </a:solidFill>
              </a:defRPr>
            </a:lvl1pPr>
          </a:lstStyle>
          <a:p>
            <a:r>
              <a:rPr lang="fi-FI"/>
              <a:t>Lorem </a:t>
            </a:r>
            <a:r>
              <a:rPr lang="fi-FI" err="1"/>
              <a:t>ipsum</a:t>
            </a:r>
            <a:r>
              <a:rPr lang="fi-FI"/>
              <a:t> </a:t>
            </a:r>
            <a:r>
              <a:rPr lang="fi-FI" err="1"/>
              <a:t>dolor</a:t>
            </a:r>
            <a:r>
              <a:rPr lang="fi-FI"/>
              <a:t> </a:t>
            </a:r>
            <a:r>
              <a:rPr lang="fi-FI" err="1"/>
              <a:t>sit</a:t>
            </a:r>
            <a:r>
              <a:rPr lang="fi-FI"/>
              <a:t> amet, </a:t>
            </a:r>
            <a:r>
              <a:rPr lang="fi-FI" err="1"/>
              <a:t>consectetur</a:t>
            </a:r>
            <a:r>
              <a:rPr lang="fi-FI"/>
              <a:t> </a:t>
            </a:r>
            <a:r>
              <a:rPr lang="fi-FI" err="1"/>
              <a:t>adipiscing</a:t>
            </a:r>
            <a:r>
              <a:rPr lang="fi-FI"/>
              <a:t> elit. Maecenas </a:t>
            </a:r>
            <a:r>
              <a:rPr lang="fi-FI" err="1"/>
              <a:t>velit</a:t>
            </a:r>
            <a:r>
              <a:rPr lang="fi-FI"/>
              <a:t> </a:t>
            </a:r>
            <a:r>
              <a:rPr lang="fi-FI" err="1"/>
              <a:t>velit</a:t>
            </a:r>
            <a:r>
              <a:rPr lang="fi-FI"/>
              <a:t>, </a:t>
            </a:r>
            <a:r>
              <a:rPr lang="fi-FI" err="1"/>
              <a:t>consequat</a:t>
            </a:r>
            <a:r>
              <a:rPr lang="fi-FI"/>
              <a:t> </a:t>
            </a:r>
            <a:r>
              <a:rPr lang="fi-FI" err="1"/>
              <a:t>eget</a:t>
            </a:r>
            <a:r>
              <a:rPr lang="fi-FI"/>
              <a:t> </a:t>
            </a:r>
            <a:r>
              <a:rPr lang="fi-FI" err="1"/>
              <a:t>ullamcorper</a:t>
            </a:r>
            <a:r>
              <a:rPr lang="fi-FI"/>
              <a:t> a, </a:t>
            </a:r>
            <a:r>
              <a:rPr lang="fi-FI" err="1"/>
              <a:t>maximus</a:t>
            </a:r>
            <a:r>
              <a:rPr lang="fi-FI"/>
              <a:t> </a:t>
            </a:r>
            <a:r>
              <a:rPr lang="fi-FI" err="1"/>
              <a:t>ac</a:t>
            </a:r>
            <a:r>
              <a:rPr lang="fi-FI"/>
              <a:t> ex.</a:t>
            </a:r>
          </a:p>
        </p:txBody>
      </p:sp>
    </p:spTree>
    <p:extLst>
      <p:ext uri="{BB962C8B-B14F-4D97-AF65-F5344CB8AC3E}">
        <p14:creationId xmlns:p14="http://schemas.microsoft.com/office/powerpoint/2010/main" val="471707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Divi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12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755652" y="1759426"/>
            <a:ext cx="7669159" cy="1352265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600" b="1" baseline="0">
                <a:solidFill>
                  <a:schemeClr val="bg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Divider – Headline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37C6C481-D72C-4B89-AA19-AC91EB21FE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2A81A4FB-6563-4C02-8A9B-51D830F1EA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1F6A7C93-158F-48BA-8E95-EC2109A4B4D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542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Body slide - Text - Red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6" cy="16451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520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401354"/>
            <a:ext cx="3015456" cy="17479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3654029" y="463696"/>
            <a:ext cx="5130402" cy="3797357"/>
          </a:xfrm>
          <a:prstGeom prst="rect">
            <a:avLst/>
          </a:prstGeom>
        </p:spPr>
        <p:txBody>
          <a:bodyPr wrap="square"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89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8610" indent="0">
              <a:buFontTx/>
              <a:buNone/>
              <a:defRPr sz="1890"/>
            </a:lvl2pPr>
            <a:lvl3pPr marL="565785" indent="0">
              <a:buFontTx/>
              <a:buNone/>
              <a:defRPr sz="144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062E6-8B0E-4DB4-8209-4E7EB4F3F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DE37A55-AE2A-40CC-8240-F6FD4F5BD0F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AD81B084-A59A-450A-B69B-00DEBAF84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27906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1">
          <p15:clr>
            <a:srgbClr val="FBAE40"/>
          </p15:clr>
        </p15:guide>
        <p15:guide id="2" pos="2302">
          <p15:clr>
            <a:srgbClr val="FBAE40"/>
          </p15:clr>
        </p15:guide>
        <p15:guide id="3" pos="553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Body slide - Text -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12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1347790"/>
            <a:ext cx="4150122" cy="29389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90" b="1" smtClean="0">
                <a:solidFill>
                  <a:srgbClr val="FFFFFF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>
                <a:solidFill>
                  <a:srgbClr val="FFFFFF"/>
                </a:solidFill>
              </a:defRPr>
            </a:lvl2pPr>
            <a:lvl3pPr marL="724377" indent="-158592">
              <a:buFont typeface="Arial" panose="020B0604020202020204" pitchFamily="34" charset="0"/>
              <a:buChar char="•"/>
              <a:defRPr sz="1440">
                <a:solidFill>
                  <a:srgbClr val="FFFFFF"/>
                </a:solidFill>
              </a:defRPr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21511"/>
            <a:ext cx="8497093" cy="11534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bg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706542" y="1347789"/>
            <a:ext cx="4077891" cy="29406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1">
                <a:solidFill>
                  <a:srgbClr val="FFFFFF"/>
                </a:solidFill>
              </a:defRPr>
            </a:lvl1pPr>
            <a:lvl2pPr marL="565785" indent="-257175">
              <a:buFont typeface="Arial" panose="020B0604020202020204" pitchFamily="34" charset="0"/>
              <a:buChar char="•"/>
              <a:defRPr sz="1890">
                <a:solidFill>
                  <a:srgbClr val="FFFFFF"/>
                </a:solidFill>
              </a:defRPr>
            </a:lvl2pPr>
            <a:lvl3pPr marL="724377" indent="-158592">
              <a:buFont typeface="Arial" panose="020B0604020202020204" pitchFamily="34" charset="0"/>
              <a:buChar char="•"/>
              <a:defRPr sz="1440">
                <a:solidFill>
                  <a:srgbClr val="FFFFFF"/>
                </a:solidFill>
              </a:defRPr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Your text here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62DDC196-D49A-4DB6-A68D-238E3C73DA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1265EED-F2E6-43DA-B5C9-706015FF2F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5011BD5-68CE-472A-A314-532B85BA47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444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5">
          <p15:clr>
            <a:srgbClr val="FBAE40"/>
          </p15:clr>
        </p15:guide>
        <p15:guide id="2" pos="2965">
          <p15:clr>
            <a:srgbClr val="FBAE40"/>
          </p15:clr>
        </p15:guide>
        <p15:guide id="3" orient="horz" pos="84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624" b="1" spc="-7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11" y="1135452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2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78224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Body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28436"/>
            <a:ext cx="8497093" cy="1007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6" name="Table Placeholder 12">
            <a:extLst>
              <a:ext uri="{FF2B5EF4-FFF2-40B4-BE49-F238E27FC236}">
                <a16:creationId xmlns:a16="http://schemas.microsoft.com/office/drawing/2014/main" id="{D90CC8CD-0F46-F240-AF4E-99DE2A9ECF9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40" y="1208314"/>
            <a:ext cx="8497093" cy="30756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table</a:t>
            </a:r>
            <a:endParaRPr lang="fi-FI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4CDEE4-AFAC-4BB1-B02E-FDE939F20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2C686F0-0C1B-46BD-9DE7-A93BAA6AC8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4338FCB4-9412-423F-84B9-91EDDBA25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681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00">
          <p15:clr>
            <a:srgbClr val="FBAE40"/>
          </p15:clr>
        </p15:guide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Body slide -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4" name="Table Placeholder 12">
            <a:extLst>
              <a:ext uri="{FF2B5EF4-FFF2-40B4-BE49-F238E27FC236}">
                <a16:creationId xmlns:a16="http://schemas.microsoft.com/office/drawing/2014/main" id="{BBBD8CFA-2274-400B-84ED-AD95B6C224E6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198548"/>
            <a:ext cx="5486014" cy="14437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table</a:t>
            </a:r>
            <a:endParaRPr lang="fi-FI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93B047F6-3228-402F-9203-526F72E0AFAD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287338" y="2803849"/>
            <a:ext cx="5486014" cy="1480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table</a:t>
            </a:r>
            <a:endParaRPr lang="fi-FI"/>
          </a:p>
        </p:txBody>
      </p:sp>
      <p:sp>
        <p:nvSpPr>
          <p:cNvPr id="2" name="Suorakulmio 1"/>
          <p:cNvSpPr/>
          <p:nvPr userDrawn="1"/>
        </p:nvSpPr>
        <p:spPr>
          <a:xfrm>
            <a:off x="6288119" y="1198546"/>
            <a:ext cx="2167128" cy="31120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912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27451"/>
            <a:ext cx="8167909" cy="10095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4722C4-26CA-4157-95A3-B7176EEF8B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8279" y="1450910"/>
            <a:ext cx="1624668" cy="2623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en-US" sz="153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1pPr>
            <a:lvl2pPr>
              <a:defRPr lang="en-US" sz="135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2pPr>
            <a:lvl3pPr>
              <a:defRPr lang="en-US" sz="135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3pPr>
            <a:lvl4pPr>
              <a:defRPr lang="en-US" sz="135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4pPr>
            <a:lvl5pPr>
              <a:defRPr lang="fi-FI" sz="1350" b="1" kern="1200" dirty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ADAB2CE-4212-44E9-B137-C1C680FB6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4E096FB-FCA1-4B5C-ACD6-0CEFB3F917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5" name="Alatunnisteen paikkamerkki 1">
            <a:extLst>
              <a:ext uri="{FF2B5EF4-FFF2-40B4-BE49-F238E27FC236}">
                <a16:creationId xmlns:a16="http://schemas.microsoft.com/office/drawing/2014/main" id="{3C30B25E-7918-4E31-B8C8-B2EDDFA11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87898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Body slide - Black and red text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B642BD-45BB-4F77-82AA-AE37473CB2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81652838-FE86-4ABD-9F9D-AFD4E96BB5D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2" name="Alatunnisteen paikkamerkki 1">
            <a:extLst>
              <a:ext uri="{FF2B5EF4-FFF2-40B4-BE49-F238E27FC236}">
                <a16:creationId xmlns:a16="http://schemas.microsoft.com/office/drawing/2014/main" id="{0B96DB4D-EBEA-407A-A811-A01FA90FC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6" name="Chart Placeholder 2">
            <a:extLst>
              <a:ext uri="{FF2B5EF4-FFF2-40B4-BE49-F238E27FC236}">
                <a16:creationId xmlns:a16="http://schemas.microsoft.com/office/drawing/2014/main" id="{09161BE7-F8D2-4ACD-83CC-1D9839ED404B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3654030" y="519112"/>
            <a:ext cx="5130403" cy="4153628"/>
          </a:xfrm>
          <a:prstGeom prst="rect">
            <a:avLst/>
          </a:prstGeom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>
                <a:solidFill>
                  <a:schemeClr val="tx1">
                    <a:alpha val="17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chart</a:t>
            </a:r>
            <a:endParaRPr lang="fi-FI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BF71F6C-31BF-8A4F-AA9D-13A108C26B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87341" y="2615909"/>
            <a:ext cx="3015455" cy="16680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520" b="1" i="0" baseline="0">
                <a:solidFill>
                  <a:schemeClr val="tx1"/>
                </a:solidFill>
                <a:latin typeface="arial" charset="0"/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818ADAA-0D73-2649-A90F-A489016A1095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394855"/>
            <a:ext cx="3015456" cy="18722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</p:spTree>
    <p:extLst>
      <p:ext uri="{BB962C8B-B14F-4D97-AF65-F5344CB8AC3E}">
        <p14:creationId xmlns:p14="http://schemas.microsoft.com/office/powerpoint/2010/main" val="3531716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1">
          <p15:clr>
            <a:srgbClr val="FBAE40"/>
          </p15:clr>
        </p15:guide>
        <p15:guide id="2" pos="2302">
          <p15:clr>
            <a:srgbClr val="FBAE40"/>
          </p15:clr>
        </p15:guide>
        <p15:guide id="3" pos="5534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Process slide -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4503" y="27708"/>
            <a:ext cx="8489928" cy="9958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bg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6A9AB-7FD4-4A4D-8EF5-3255560CFB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0831" y="2534492"/>
            <a:ext cx="1539000" cy="1753903"/>
          </a:xfrm>
          <a:prstGeom prst="rect">
            <a:avLst/>
          </a:prstGeom>
        </p:spPr>
        <p:txBody>
          <a:bodyPr lIns="0" tIns="0" rIns="0" bIns="0"/>
          <a:lstStyle>
            <a:lvl1pPr marL="72900" indent="-72900" algn="l" defTabSz="462992" rtl="0" eaLnBrk="1" latinLnBrk="0" hangingPunct="1">
              <a:lnSpc>
                <a:spcPct val="100000"/>
              </a:lnSpc>
              <a:buFont typeface="Arial" charset="0"/>
              <a:buChar char="•"/>
              <a:defRPr sz="1260" b="1">
                <a:solidFill>
                  <a:schemeClr val="bg1"/>
                </a:solidFill>
              </a:defRPr>
            </a:lvl1pPr>
            <a:lvl2pPr marL="0" indent="0">
              <a:lnSpc>
                <a:spcPts val="1350"/>
              </a:lnSpc>
              <a:buNone/>
              <a:defRPr lang="en-US" sz="1215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  <a:lvl3pPr>
              <a:buClr>
                <a:schemeClr val="bg1"/>
              </a:buClr>
              <a:defRPr sz="709">
                <a:solidFill>
                  <a:schemeClr val="bg1"/>
                </a:solidFill>
              </a:defRPr>
            </a:lvl3pPr>
          </a:lstStyle>
          <a:p>
            <a:pPr marL="72900" lvl="0" indent="-72900" algn="l" defTabSz="462992" rtl="0" eaLnBrk="1" latinLnBrk="0" hangingPunct="1">
              <a:lnSpc>
                <a:spcPts val="878"/>
              </a:lnSpc>
              <a:buFont typeface="Arial" charset="0"/>
              <a:buChar char="•"/>
            </a:pPr>
            <a:r>
              <a:rPr lang="fi-FI"/>
              <a:t>Add text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9987C57-966C-4855-9310-5E356BB3CB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3997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72900" marR="0" indent="-72900" algn="l" defTabSz="462992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260" b="1">
                <a:solidFill>
                  <a:schemeClr val="bg1"/>
                </a:solidFill>
              </a:defRPr>
            </a:lvl1pPr>
            <a:lvl2pPr marL="115729" indent="-115729">
              <a:lnSpc>
                <a:spcPts val="1440"/>
              </a:lnSpc>
              <a:buClr>
                <a:schemeClr val="bg1"/>
              </a:buClr>
              <a:defRPr lang="en-US" sz="1215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72900" marR="0" lvl="0" indent="-72900" algn="l" defTabSz="462992" rtl="0" eaLnBrk="1" fontAlgn="auto" latinLnBrk="0" hangingPunct="1">
              <a:lnSpc>
                <a:spcPts val="878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72900" lvl="0" indent="-72900" algn="l" defTabSz="462992" rtl="0" eaLnBrk="1" latinLnBrk="0" hangingPunct="1">
              <a:lnSpc>
                <a:spcPts val="878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0022" y="1152408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688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014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9170" y="1152408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688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015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3651" y="1152408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688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016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4137" y="1152408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688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017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14623" y="1152408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688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018</a:t>
            </a:r>
          </a:p>
        </p:txBody>
      </p:sp>
      <p:pic>
        <p:nvPicPr>
          <p:cNvPr id="16" name="Kuva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827BBD5-9E69-4D6A-ACDE-EC26CFE2F6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71501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72900" marR="0" indent="-72900" algn="l" defTabSz="462992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260" b="1">
                <a:solidFill>
                  <a:schemeClr val="bg1"/>
                </a:solidFill>
              </a:defRPr>
            </a:lvl1pPr>
            <a:lvl2pPr marL="115729" indent="-115729">
              <a:lnSpc>
                <a:spcPts val="1440"/>
              </a:lnSpc>
              <a:buClr>
                <a:schemeClr val="bg1"/>
              </a:buClr>
              <a:defRPr lang="en-US" sz="1215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72900" marR="0" lvl="0" indent="-72900" algn="l" defTabSz="462992" rtl="0" eaLnBrk="1" fontAlgn="auto" latinLnBrk="0" hangingPunct="1">
              <a:lnSpc>
                <a:spcPts val="878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72900" lvl="0" indent="-72900" algn="l" defTabSz="462992" rtl="0" eaLnBrk="1" latinLnBrk="0" hangingPunct="1">
              <a:lnSpc>
                <a:spcPts val="878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BA48B8B-BD2C-4A39-82AF-63EB5DF45D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15995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72900" marR="0" indent="-72900" algn="l" defTabSz="462992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260" b="1">
                <a:solidFill>
                  <a:schemeClr val="bg1"/>
                </a:solidFill>
              </a:defRPr>
            </a:lvl1pPr>
            <a:lvl2pPr marL="115729" indent="-115729">
              <a:lnSpc>
                <a:spcPts val="1440"/>
              </a:lnSpc>
              <a:buClr>
                <a:schemeClr val="bg1"/>
              </a:buClr>
              <a:defRPr lang="en-US" sz="1215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72900" marR="0" lvl="0" indent="-72900" algn="l" defTabSz="462992" rtl="0" eaLnBrk="1" fontAlgn="auto" latinLnBrk="0" hangingPunct="1">
              <a:lnSpc>
                <a:spcPts val="878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72900" lvl="0" indent="-72900" algn="l" defTabSz="462992" rtl="0" eaLnBrk="1" latinLnBrk="0" hangingPunct="1">
              <a:lnSpc>
                <a:spcPts val="878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DACDC4A-3163-4169-8C73-15CC127E50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4751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72900" marR="0" indent="-72900" algn="l" defTabSz="462992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260" b="1">
                <a:solidFill>
                  <a:schemeClr val="bg1"/>
                </a:solidFill>
              </a:defRPr>
            </a:lvl1pPr>
            <a:lvl2pPr marL="115729" indent="-115729">
              <a:lnSpc>
                <a:spcPts val="1440"/>
              </a:lnSpc>
              <a:buClr>
                <a:schemeClr val="bg1"/>
              </a:buClr>
              <a:defRPr lang="en-US" sz="1215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72900" marR="0" lvl="0" indent="-72900" algn="l" defTabSz="462992" rtl="0" eaLnBrk="1" fontAlgn="auto" latinLnBrk="0" hangingPunct="1">
              <a:lnSpc>
                <a:spcPts val="878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72900" lvl="0" indent="-72900" algn="l" defTabSz="462992" rtl="0" eaLnBrk="1" latinLnBrk="0" hangingPunct="1">
              <a:lnSpc>
                <a:spcPts val="878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7A6B884-331F-40FA-8908-119224136FD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A749CABA-9FF3-45EA-9953-7B719CB699D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FF271C0B-E7D3-474B-A483-3CBA7656076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04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Process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F47391-4AC0-4F7E-BFA1-6D69FD784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EF0705C-E100-4768-B5FA-237B27E15CFD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7" name="Alatunnisteen paikkamerkki 1">
            <a:extLst>
              <a:ext uri="{FF2B5EF4-FFF2-40B4-BE49-F238E27FC236}">
                <a16:creationId xmlns:a16="http://schemas.microsoft.com/office/drawing/2014/main" id="{84C2D171-9BD9-4BE0-A001-56E727390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28265"/>
            <a:ext cx="8497093" cy="1136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1754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385879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126004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3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856800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4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7582931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5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20109F-4A5D-AF40-A937-1636D1D64A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4254" y="2304306"/>
            <a:ext cx="1539000" cy="19796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1A38691-037D-394F-800A-B98CC5204D3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2048379" y="2318301"/>
            <a:ext cx="1539000" cy="19657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91022EE-194A-0147-A4C1-5527DCEE10B9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788504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9974140-1C49-A14E-96F4-B74CDFC7AA8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5519300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4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A54D1A0-56C3-904B-A447-7E1980F40DB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7245431" y="2318299"/>
            <a:ext cx="1539000" cy="19657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4</a:t>
            </a:r>
          </a:p>
        </p:txBody>
      </p:sp>
    </p:spTree>
    <p:extLst>
      <p:ext uri="{BB962C8B-B14F-4D97-AF65-F5344CB8AC3E}">
        <p14:creationId xmlns:p14="http://schemas.microsoft.com/office/powerpoint/2010/main" val="2819888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8225" y="0"/>
            <a:ext cx="9160449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58"/>
          </a:p>
        </p:txBody>
      </p:sp>
      <p:sp>
        <p:nvSpPr>
          <p:cNvPr id="12" name="Otsikko 1">
            <a:hlinkClick r:id="rId2"/>
          </p:cNvPr>
          <p:cNvSpPr txBox="1">
            <a:spLocks/>
          </p:cNvSpPr>
          <p:nvPr userDrawn="1"/>
        </p:nvSpPr>
        <p:spPr>
          <a:xfrm>
            <a:off x="3717367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620" spc="0" baseline="0">
                <a:solidFill>
                  <a:srgbClr val="FFFFFF"/>
                </a:solidFill>
                <a:latin typeface="Arial"/>
                <a:cs typeface="Arial"/>
              </a:rPr>
              <a:t>aalto.fi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094341" y="2868217"/>
            <a:ext cx="2955323" cy="353760"/>
            <a:chOff x="4484925" y="3824288"/>
            <a:chExt cx="3940431" cy="471680"/>
          </a:xfrm>
        </p:grpSpPr>
        <p:pic>
          <p:nvPicPr>
            <p:cNvPr id="7" name="Picture 6" descr="FB.png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4925" y="3824416"/>
              <a:ext cx="471553" cy="471552"/>
            </a:xfrm>
            <a:prstGeom prst="rect">
              <a:avLst/>
            </a:prstGeom>
          </p:spPr>
        </p:pic>
        <p:pic>
          <p:nvPicPr>
            <p:cNvPr id="8" name="Picture 7" descr="IG.png">
              <a:hlinkClick r:id="rId5"/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4502" y="3824416"/>
              <a:ext cx="471553" cy="471552"/>
            </a:xfrm>
            <a:prstGeom prst="rect">
              <a:avLst/>
            </a:prstGeom>
          </p:spPr>
        </p:pic>
        <p:pic>
          <p:nvPicPr>
            <p:cNvPr id="9" name="Picture 8" descr="Twitter.png">
              <a:hlinkClick r:id="rId7"/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4079" y="3824416"/>
              <a:ext cx="471553" cy="471552"/>
            </a:xfrm>
            <a:prstGeom prst="rect">
              <a:avLst/>
            </a:prstGeom>
          </p:spPr>
        </p:pic>
        <p:pic>
          <p:nvPicPr>
            <p:cNvPr id="10" name="Picture 9" descr="Youtube.png">
              <a:hlinkClick r:id="rId9"/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3656" y="3824416"/>
              <a:ext cx="471553" cy="471552"/>
            </a:xfrm>
            <a:prstGeom prst="rect">
              <a:avLst/>
            </a:prstGeom>
          </p:spPr>
        </p:pic>
        <p:pic>
          <p:nvPicPr>
            <p:cNvPr id="11" name="Picture 10" descr="SC.png">
              <a:hlinkClick r:id="rId11"/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3233" y="3824416"/>
              <a:ext cx="471553" cy="471552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2812" y="3824288"/>
              <a:ext cx="542544" cy="457200"/>
            </a:xfrm>
            <a:prstGeom prst="rect">
              <a:avLst/>
            </a:prstGeom>
          </p:spPr>
        </p:pic>
      </p:grp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90" y="1364642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lnSpc>
                <a:spcPct val="100000"/>
              </a:lnSpc>
              <a:buNone/>
              <a:defRPr sz="3600" b="1">
                <a:solidFill>
                  <a:srgbClr val="FFFFFF"/>
                </a:solidFill>
                <a:latin typeface="+mj-lt"/>
              </a:defRPr>
            </a:lvl1pPr>
            <a:lvl2pPr marL="308610" indent="0">
              <a:buNone/>
              <a:defRPr/>
            </a:lvl2pPr>
          </a:lstStyle>
          <a:p>
            <a:pPr lvl="0"/>
            <a:r>
              <a:rPr lang="fi-FI"/>
              <a:t>Add text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467896"/>
            <a:ext cx="1734813" cy="1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94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7">
          <p15:clr>
            <a:srgbClr val="FBAE40"/>
          </p15:clr>
        </p15:guide>
        <p15:guide id="2" orient="horz" pos="2028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8225" y="0"/>
            <a:ext cx="9160449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58"/>
          </a:p>
        </p:txBody>
      </p: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90" y="1364642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lnSpc>
                <a:spcPct val="100000"/>
              </a:lnSpc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308610" indent="0">
              <a:buNone/>
              <a:defRPr/>
            </a:lvl2pPr>
          </a:lstStyle>
          <a:p>
            <a:pPr lvl="0"/>
            <a:r>
              <a:rPr lang="fi-FI"/>
              <a:t>Add text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467896"/>
            <a:ext cx="1734813" cy="167560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7D0B75F-0AC7-8D4D-A793-2C9F89DBA0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986" y="3485078"/>
            <a:ext cx="1734813" cy="1679250"/>
          </a:xfrm>
          <a:prstGeom prst="rect">
            <a:avLst/>
          </a:prstGeom>
        </p:spPr>
      </p:pic>
      <p:pic>
        <p:nvPicPr>
          <p:cNvPr id="3" name="Picture 2">
            <a:hlinkClick r:id="rId4"/>
            <a:extLst>
              <a:ext uri="{FF2B5EF4-FFF2-40B4-BE49-F238E27FC236}">
                <a16:creationId xmlns:a16="http://schemas.microsoft.com/office/drawing/2014/main" id="{B77E38E2-DBB6-A147-83E6-6DAC0F6881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2065" y="2765388"/>
            <a:ext cx="419100" cy="419100"/>
          </a:xfrm>
          <a:prstGeom prst="rect">
            <a:avLst/>
          </a:prstGeom>
        </p:spPr>
      </p:pic>
      <p:pic>
        <p:nvPicPr>
          <p:cNvPr id="6" name="Picture 5">
            <a:hlinkClick r:id="rId6"/>
            <a:extLst>
              <a:ext uri="{FF2B5EF4-FFF2-40B4-BE49-F238E27FC236}">
                <a16:creationId xmlns:a16="http://schemas.microsoft.com/office/drawing/2014/main" id="{56F26C1B-0957-2C48-8C84-B17FCD9D55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6316" y="2765388"/>
            <a:ext cx="419100" cy="419100"/>
          </a:xfrm>
          <a:prstGeom prst="rect">
            <a:avLst/>
          </a:prstGeom>
        </p:spPr>
      </p:pic>
      <p:pic>
        <p:nvPicPr>
          <p:cNvPr id="8" name="Picture 7">
            <a:hlinkClick r:id="rId8"/>
            <a:extLst>
              <a:ext uri="{FF2B5EF4-FFF2-40B4-BE49-F238E27FC236}">
                <a16:creationId xmlns:a16="http://schemas.microsoft.com/office/drawing/2014/main" id="{3B92C98A-6FEB-314A-9123-18C97B59E33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0567" y="2765388"/>
            <a:ext cx="419100" cy="419100"/>
          </a:xfrm>
          <a:prstGeom prst="rect">
            <a:avLst/>
          </a:prstGeom>
        </p:spPr>
      </p:pic>
      <p:pic>
        <p:nvPicPr>
          <p:cNvPr id="10" name="Picture 9">
            <a:hlinkClick r:id="rId10"/>
            <a:extLst>
              <a:ext uri="{FF2B5EF4-FFF2-40B4-BE49-F238E27FC236}">
                <a16:creationId xmlns:a16="http://schemas.microsoft.com/office/drawing/2014/main" id="{D3F4C9D2-27DE-6A46-A648-A14CC930E81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4818" y="2765388"/>
            <a:ext cx="419100" cy="419100"/>
          </a:xfrm>
          <a:prstGeom prst="rect">
            <a:avLst/>
          </a:prstGeom>
        </p:spPr>
      </p:pic>
      <p:pic>
        <p:nvPicPr>
          <p:cNvPr id="15" name="Picture 14">
            <a:hlinkClick r:id="rId12"/>
            <a:extLst>
              <a:ext uri="{FF2B5EF4-FFF2-40B4-BE49-F238E27FC236}">
                <a16:creationId xmlns:a16="http://schemas.microsoft.com/office/drawing/2014/main" id="{31B50901-3116-854E-89C5-9D6F764C131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9069" y="2748429"/>
            <a:ext cx="419100" cy="419100"/>
          </a:xfrm>
          <a:prstGeom prst="rect">
            <a:avLst/>
          </a:prstGeom>
        </p:spPr>
      </p:pic>
      <p:pic>
        <p:nvPicPr>
          <p:cNvPr id="19" name="Picture 18">
            <a:hlinkClick r:id="rId14"/>
            <a:extLst>
              <a:ext uri="{FF2B5EF4-FFF2-40B4-BE49-F238E27FC236}">
                <a16:creationId xmlns:a16="http://schemas.microsoft.com/office/drawing/2014/main" id="{754D75F0-D273-C34C-9CC9-6E76282960A8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319" y="2748429"/>
            <a:ext cx="419100" cy="419100"/>
          </a:xfrm>
          <a:prstGeom prst="rect">
            <a:avLst/>
          </a:prstGeom>
        </p:spPr>
      </p:pic>
      <p:sp>
        <p:nvSpPr>
          <p:cNvPr id="17" name="Otsikko 1">
            <a:extLst>
              <a:ext uri="{FF2B5EF4-FFF2-40B4-BE49-F238E27FC236}">
                <a16:creationId xmlns:a16="http://schemas.microsoft.com/office/drawing/2014/main" id="{A33829C2-B671-4EA9-855A-01602596E520}"/>
              </a:ext>
            </a:extLst>
          </p:cNvPr>
          <p:cNvSpPr txBox="1">
            <a:spLocks/>
          </p:cNvSpPr>
          <p:nvPr userDrawn="1"/>
        </p:nvSpPr>
        <p:spPr>
          <a:xfrm>
            <a:off x="3717367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620" b="1" spc="0" baseline="0">
                <a:solidFill>
                  <a:schemeClr val="tx1"/>
                </a:solidFill>
                <a:latin typeface="Arial"/>
                <a:cs typeface="Arial"/>
              </a:rPr>
              <a:t>aalto.fi</a:t>
            </a:r>
          </a:p>
        </p:txBody>
      </p:sp>
    </p:spTree>
    <p:extLst>
      <p:ext uri="{BB962C8B-B14F-4D97-AF65-F5344CB8AC3E}">
        <p14:creationId xmlns:p14="http://schemas.microsoft.com/office/powerpoint/2010/main" val="1194164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7">
          <p15:clr>
            <a:srgbClr val="FBAE40"/>
          </p15:clr>
        </p15:guide>
        <p15:guide id="2" orient="horz" pos="2028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467896"/>
            <a:ext cx="1734813" cy="167560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-8225" y="0"/>
            <a:ext cx="9160449" cy="5143500"/>
          </a:xfrm>
          <a:prstGeom prst="rect">
            <a:avLst/>
          </a:prstGeom>
          <a:solidFill>
            <a:srgbClr val="FFC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58"/>
          </a:p>
        </p:txBody>
      </p:sp>
      <p:sp>
        <p:nvSpPr>
          <p:cNvPr id="12" name="Otsikko 1"/>
          <p:cNvSpPr txBox="1">
            <a:spLocks/>
          </p:cNvSpPr>
          <p:nvPr userDrawn="1"/>
        </p:nvSpPr>
        <p:spPr>
          <a:xfrm>
            <a:off x="3717367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620" spc="0" baseline="0">
                <a:solidFill>
                  <a:schemeClr val="tx1"/>
                </a:solidFill>
                <a:latin typeface="Arial"/>
                <a:cs typeface="Arial"/>
              </a:rPr>
              <a:t>aalto.fi</a:t>
            </a:r>
          </a:p>
        </p:txBody>
      </p: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90" y="1364642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lnSpc>
                <a:spcPct val="100000"/>
              </a:lnSpc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308610" indent="0">
              <a:buNone/>
              <a:defRPr/>
            </a:lvl2pPr>
          </a:lstStyle>
          <a:p>
            <a:pPr lvl="0"/>
            <a:r>
              <a:rPr lang="fi-FI"/>
              <a:t>Add tex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7D0B75F-0AC7-8D4D-A793-2C9F89DBA0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986" y="3485078"/>
            <a:ext cx="1734813" cy="16792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5D8BF06-5BED-9547-80E4-80784D72B5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5214" y="2402646"/>
            <a:ext cx="3797300" cy="120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157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7">
          <p15:clr>
            <a:srgbClr val="FBAE40"/>
          </p15:clr>
        </p15:guide>
        <p15:guide id="2" orient="horz" pos="2028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25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16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51501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2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538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2633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624" b="1" spc="-7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2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58595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3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8369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3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46680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20" y="1135453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3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01472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25" y="1135452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9006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Process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F47391-4AC0-4F7E-BFA1-6D69FD784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EF0705C-E100-4768-B5FA-237B27E15CFD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7" name="Alatunnisteen paikkamerkki 1">
            <a:extLst>
              <a:ext uri="{FF2B5EF4-FFF2-40B4-BE49-F238E27FC236}">
                <a16:creationId xmlns:a16="http://schemas.microsoft.com/office/drawing/2014/main" id="{84C2D171-9BD9-4BE0-A001-56E727390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28265"/>
            <a:ext cx="8497093" cy="1136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175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385879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12600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3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856800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4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7582931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5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20109F-4A5D-AF40-A937-1636D1D64A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4254" y="2304306"/>
            <a:ext cx="1539000" cy="19796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1A38691-037D-394F-800A-B98CC5204D3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2048379" y="2318301"/>
            <a:ext cx="1539000" cy="19657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91022EE-194A-0147-A4C1-5527DCEE10B9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788504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9974140-1C49-A14E-96F4-B74CDFC7AA8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5519300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4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A54D1A0-56C3-904B-A447-7E1980F40DB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7245431" y="2318299"/>
            <a:ext cx="1539000" cy="19657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4</a:t>
            </a:r>
          </a:p>
        </p:txBody>
      </p:sp>
    </p:spTree>
    <p:extLst>
      <p:ext uri="{BB962C8B-B14F-4D97-AF65-F5344CB8AC3E}">
        <p14:creationId xmlns:p14="http://schemas.microsoft.com/office/powerpoint/2010/main" val="849454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584333" y="4090650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" y="26326"/>
            <a:ext cx="2238480" cy="153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6254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33" y="4090650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326"/>
            <a:ext cx="2238480" cy="153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2776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33" y="4090650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" y="26326"/>
            <a:ext cx="2238480" cy="153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61258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84333" y="4090650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" y="26326"/>
            <a:ext cx="2238480" cy="153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17896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33" y="4090650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326"/>
            <a:ext cx="2238480" cy="153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0888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624" b="1" spc="-7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6" y="1135452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6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2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1" b="1">
                <a:latin typeface="+mj-lt"/>
              </a:defRPr>
            </a:lvl1pPr>
            <a:lvl2pPr marL="173210" indent="-154840">
              <a:buFont typeface="Arial"/>
              <a:buChar char="•"/>
              <a:defRPr sz="1458">
                <a:latin typeface="Georgia"/>
              </a:defRPr>
            </a:lvl2pPr>
            <a:lvl3pPr marL="335923" indent="-167962">
              <a:buFont typeface="Lucida Grande"/>
              <a:buChar char="-"/>
              <a:defRPr sz="1166" i="1">
                <a:latin typeface="Georgia"/>
                <a:cs typeface="Georgia"/>
              </a:defRPr>
            </a:lvl3pPr>
            <a:lvl4pPr marL="577368" indent="-141718">
              <a:buFont typeface="Arial"/>
              <a:buChar char="•"/>
              <a:defRPr sz="1021" baseline="0">
                <a:latin typeface="Georgia"/>
              </a:defRPr>
            </a:lvl4pPr>
            <a:lvl5pPr marL="792569" indent="-166649">
              <a:buFont typeface="Courier New"/>
              <a:buChar char="o"/>
              <a:defRPr sz="948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39783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33" y="4090650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" y="26326"/>
            <a:ext cx="2238480" cy="153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30049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84320" y="2055250"/>
            <a:ext cx="7975385" cy="1977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84333" y="4128748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2" y="24469"/>
            <a:ext cx="2236006" cy="154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73852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584320" y="2055250"/>
            <a:ext cx="7975385" cy="1977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584333" y="4128748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2" y="24469"/>
            <a:ext cx="2236006" cy="154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65629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584320" y="2055250"/>
            <a:ext cx="7975385" cy="1977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584333" y="4128748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" y="24470"/>
            <a:ext cx="2236005" cy="154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9663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84334" y="1826653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500" b="1" spc="-15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84334" y="4413252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2" y="24469"/>
            <a:ext cx="2236006" cy="154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55817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84334" y="1826653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500" b="1" spc="-15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34" y="4413252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2" y="24469"/>
            <a:ext cx="2236006" cy="154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0792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84334" y="1826653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4500" b="1" spc="-15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584334" y="4413252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" y="24470"/>
            <a:ext cx="2236005" cy="154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225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619" y="4225475"/>
            <a:ext cx="2449209" cy="837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60100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125" y="4226741"/>
            <a:ext cx="2346452" cy="82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11596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943" y="4227542"/>
            <a:ext cx="2446833" cy="824025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84320" y="1434202"/>
            <a:ext cx="797538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" y="0"/>
            <a:ext cx="2236005" cy="1590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6545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26764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54641" y="4225100"/>
            <a:ext cx="2473630" cy="845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23" y="285750"/>
            <a:ext cx="8085599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540023" y="1264258"/>
            <a:ext cx="808559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E6C78C-1035-4CC9-B5B1-4B0EF6460FE2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96587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18922" y="4213198"/>
            <a:ext cx="2473630" cy="868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23" y="285750"/>
            <a:ext cx="8085599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23" y="1264258"/>
            <a:ext cx="808559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873ED7-65B7-4E69-BCCC-9E760A652183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49472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2898" y="4232221"/>
            <a:ext cx="2473630" cy="830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0023" y="285750"/>
            <a:ext cx="8085599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23" y="1264258"/>
            <a:ext cx="808559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A0AC24-33B5-46CF-8A5D-1CDB7D11A2D7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3255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23" y="285750"/>
            <a:ext cx="8085599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8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37535" y="1264258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6B8EBF-F49F-4F7B-919E-83D8A37C7BE9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54641" y="4225100"/>
            <a:ext cx="2473630" cy="845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091104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40023" y="285750"/>
            <a:ext cx="8085599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8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37535" y="1264258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E28D8-6AAD-4C0C-AF18-52A282238AB9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18922" y="4213198"/>
            <a:ext cx="2473630" cy="868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116242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23" y="285750"/>
            <a:ext cx="8085599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8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35" y="1264258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A22F8B-E67E-4E1D-B9C6-F6AE99FD71D7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2898" y="4232221"/>
            <a:ext cx="2473630" cy="830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8248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0" y="285750"/>
            <a:ext cx="8085600" cy="8001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90000"/>
              </a:lnSpc>
              <a:defRPr sz="3600" b="1" spc="-90">
                <a:solidFill>
                  <a:srgbClr val="0065BD"/>
                </a:solidFill>
              </a:defRPr>
            </a:lvl1pPr>
          </a:lstStyle>
          <a:p>
            <a:r>
              <a:rPr lang="fi-FI" err="1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3400" y="1200150"/>
            <a:ext cx="8085600" cy="29146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Arial"/>
                <a:cs typeface="Arial"/>
              </a:defRPr>
            </a:lvl1pPr>
            <a:lvl2pPr marL="160020" indent="-160020">
              <a:buFont typeface="Arial"/>
              <a:buChar char="•"/>
              <a:defRPr sz="1620">
                <a:latin typeface="Georgia"/>
                <a:cs typeface="Georgia"/>
              </a:defRPr>
            </a:lvl2pPr>
            <a:lvl3pPr marL="400050" indent="-240030">
              <a:buFont typeface="Lucida Grande"/>
              <a:buChar char="-"/>
              <a:defRPr sz="1350" i="1">
                <a:latin typeface="Georgia"/>
                <a:cs typeface="Georgia"/>
              </a:defRPr>
            </a:lvl3pPr>
            <a:lvl4pPr marL="651510" indent="-171450">
              <a:buFont typeface="Arial"/>
              <a:buChar char="•"/>
              <a:defRPr sz="1170">
                <a:latin typeface="Georgia"/>
                <a:cs typeface="Georgia"/>
              </a:defRPr>
            </a:lvl4pPr>
            <a:lvl5pPr marL="891540" indent="-160020">
              <a:buFont typeface="Courier New"/>
              <a:buChar char="o"/>
              <a:tabLst/>
              <a:defRPr sz="1080"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08210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eader Slide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31800" y="1638135"/>
            <a:ext cx="7948556" cy="663264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1800" y="2571750"/>
            <a:ext cx="7998597" cy="50138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No Image - Sub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5966372" y="4215388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66372" y="4509807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67895"/>
            <a:ext cx="1734813" cy="1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620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58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81298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564419" y="0"/>
            <a:ext cx="4579582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image.</a:t>
            </a:r>
          </a:p>
          <a:p>
            <a:r>
              <a:rPr lang="fi-FI" err="1"/>
              <a:t>Fit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67895"/>
            <a:ext cx="1734813" cy="1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188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8438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1241467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C366827-B13F-41D2-9BB1-86D6952FE7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B081CECA-2419-49BC-A865-E26F838DFB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75CA6814-F1E3-4289-929D-E2AEACCAF6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566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7365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Body slide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8437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2024418"/>
            <a:ext cx="8492897" cy="22595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292328" y="1199905"/>
            <a:ext cx="8492897" cy="6488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Sub Headline</a:t>
            </a:r>
          </a:p>
          <a:p>
            <a:pPr lvl="0"/>
            <a:endParaRPr lang="en-US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5F98E76-565B-438E-BE24-AF36CE784A6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0477500B-A8BC-45B6-BA85-A082FC8528F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4A736A4D-A5BC-4E4F-9FD0-C4BC6EEC98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307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Body slide - 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880" y="26955"/>
            <a:ext cx="8497093" cy="101629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87339" y="1347789"/>
            <a:ext cx="4150122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706541" y="1347789"/>
            <a:ext cx="4078684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ACE9B33-D0C7-4AF1-A02A-1559773A78A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F7430A1-7AEB-4722-97B3-51719F6057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5B56DD1-CE07-4F8B-9EEB-5CFC86C5CC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13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pos="181">
          <p15:clr>
            <a:srgbClr val="FBAE40"/>
          </p15:clr>
        </p15:guide>
        <p15:guide id="9" orient="horz" pos="849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Body slide - Black tex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baseline="0">
                <a:solidFill>
                  <a:schemeClr val="bg1">
                    <a:lumMod val="85000"/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image</a:t>
            </a:r>
            <a:br>
              <a:rPr lang="fi-FI"/>
            </a:br>
            <a:br>
              <a:rPr lang="fi-FI"/>
            </a:br>
            <a:r>
              <a:rPr lang="fi-FI" err="1"/>
              <a:t>Fit</a:t>
            </a:r>
            <a:r>
              <a:rPr lang="fi-FI"/>
              <a:t> the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8" y="1358537"/>
            <a:ext cx="4052221" cy="29254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/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34800"/>
            <a:ext cx="4052221" cy="10414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537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6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image.</a:t>
            </a:r>
            <a:br>
              <a:rPr lang="en-US"/>
            </a:br>
            <a:br>
              <a:rPr lang="en-US"/>
            </a:br>
            <a:r>
              <a:rPr lang="fi-FI" err="1"/>
              <a:t>Fit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image to </a:t>
            </a:r>
            <a:r>
              <a:rPr lang="fi-FI" err="1"/>
              <a:t>frame</a:t>
            </a:r>
            <a:r>
              <a:rPr lang="fi-FI"/>
              <a:t> </a:t>
            </a:r>
            <a:br>
              <a:rPr lang="fi-FI"/>
            </a:br>
            <a:r>
              <a:rPr lang="fi-FI" err="1"/>
              <a:t>by</a:t>
            </a:r>
            <a:r>
              <a:rPr lang="fi-FI"/>
              <a:t> </a:t>
            </a:r>
            <a:r>
              <a:rPr lang="fi-FI" err="1"/>
              <a:t>choosing</a:t>
            </a:r>
            <a:r>
              <a:rPr lang="fi-FI"/>
              <a:t>: </a:t>
            </a:r>
            <a:br>
              <a:rPr lang="fi-FI"/>
            </a:br>
            <a:r>
              <a:rPr lang="fi-FI" err="1"/>
              <a:t>crop</a:t>
            </a:r>
            <a:r>
              <a:rPr lang="fi-FI"/>
              <a:t>&gt;</a:t>
            </a:r>
            <a:r>
              <a:rPr lang="fi-FI" err="1"/>
              <a:t>fit</a:t>
            </a:r>
            <a:r>
              <a:rPr lang="fi-FI"/>
              <a:t> / rajaa&gt;sovita</a:t>
            </a:r>
            <a:endParaRPr lang="en-US"/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/>
              <a:t>Lorem </a:t>
            </a:r>
            <a:r>
              <a:rPr lang="fi-FI" err="1"/>
              <a:t>ipsum</a:t>
            </a:r>
            <a:r>
              <a:rPr lang="fi-FI"/>
              <a:t> </a:t>
            </a:r>
            <a:r>
              <a:rPr lang="fi-FI" err="1"/>
              <a:t>dolor</a:t>
            </a:r>
            <a:r>
              <a:rPr lang="fi-FI"/>
              <a:t> </a:t>
            </a:r>
            <a:r>
              <a:rPr lang="fi-FI" err="1"/>
              <a:t>sit</a:t>
            </a:r>
            <a:r>
              <a:rPr lang="fi-FI"/>
              <a:t> amet, </a:t>
            </a:r>
            <a:r>
              <a:rPr lang="fi-FI" err="1"/>
              <a:t>consectetur</a:t>
            </a:r>
            <a:r>
              <a:rPr lang="fi-FI"/>
              <a:t> </a:t>
            </a:r>
            <a:r>
              <a:rPr lang="fi-FI" err="1"/>
              <a:t>adipiscing</a:t>
            </a:r>
            <a:r>
              <a:rPr lang="fi-FI"/>
              <a:t> elit. Maecenas </a:t>
            </a:r>
            <a:r>
              <a:rPr lang="fi-FI" err="1"/>
              <a:t>velit</a:t>
            </a:r>
            <a:r>
              <a:rPr lang="fi-FI"/>
              <a:t> </a:t>
            </a:r>
            <a:r>
              <a:rPr lang="fi-FI" err="1"/>
              <a:t>velit</a:t>
            </a:r>
            <a:r>
              <a:rPr lang="fi-FI"/>
              <a:t>, </a:t>
            </a:r>
            <a:r>
              <a:rPr lang="fi-FI" err="1"/>
              <a:t>consequat</a:t>
            </a:r>
            <a:r>
              <a:rPr lang="fi-FI"/>
              <a:t> </a:t>
            </a:r>
            <a:r>
              <a:rPr lang="fi-FI" err="1"/>
              <a:t>eget</a:t>
            </a:r>
            <a:r>
              <a:rPr lang="fi-FI"/>
              <a:t> </a:t>
            </a:r>
            <a:r>
              <a:rPr lang="fi-FI" err="1"/>
              <a:t>ullamcorper</a:t>
            </a:r>
            <a:r>
              <a:rPr lang="fi-FI"/>
              <a:t> a, </a:t>
            </a:r>
            <a:r>
              <a:rPr lang="fi-FI" err="1"/>
              <a:t>maximus</a:t>
            </a:r>
            <a:r>
              <a:rPr lang="fi-FI"/>
              <a:t> </a:t>
            </a:r>
            <a:r>
              <a:rPr lang="fi-FI" err="1"/>
              <a:t>ac</a:t>
            </a:r>
            <a:r>
              <a:rPr lang="fi-FI"/>
              <a:t> ex.</a:t>
            </a:r>
          </a:p>
        </p:txBody>
      </p:sp>
    </p:spTree>
    <p:extLst>
      <p:ext uri="{BB962C8B-B14F-4D97-AF65-F5344CB8AC3E}">
        <p14:creationId xmlns:p14="http://schemas.microsoft.com/office/powerpoint/2010/main" val="3829722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Divi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755650" y="1759425"/>
            <a:ext cx="7669159" cy="1352265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ivider – Headline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37C6C481-D72C-4B89-AA19-AC91EB21FE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2A81A4FB-6563-4C02-8A9B-51D830F1EA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1F6A7C93-158F-48BA-8E95-EC2109A4B4D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871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Body slide - Text - Red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6" cy="16451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401354"/>
            <a:ext cx="3015456" cy="17479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3654029" y="463696"/>
            <a:ext cx="5130402" cy="3797357"/>
          </a:xfrm>
          <a:prstGeom prst="rect">
            <a:avLst/>
          </a:prstGeom>
        </p:spPr>
        <p:txBody>
          <a:bodyPr wrap="square"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1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062E6-8B0E-4DB4-8209-4E7EB4F3F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DE37A55-AE2A-40CC-8240-F6FD4F5BD0F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AD81B084-A59A-450A-B69B-00DEBAF84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2342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1">
          <p15:clr>
            <a:srgbClr val="FBAE40"/>
          </p15:clr>
        </p15:guide>
        <p15:guide id="2" pos="2302">
          <p15:clr>
            <a:srgbClr val="FBAE40"/>
          </p15:clr>
        </p15:guide>
        <p15:guide id="3" pos="5534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Body slide - Text -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1347789"/>
            <a:ext cx="4150122" cy="29389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1510"/>
            <a:ext cx="8497093" cy="11534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706540" y="1347788"/>
            <a:ext cx="4077891" cy="29406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Your text here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62DDC196-D49A-4DB6-A68D-238E3C73DA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1265EED-F2E6-43DA-B5C9-706015FF2F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5011BD5-68CE-472A-A314-532B85BA47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7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5">
          <p15:clr>
            <a:srgbClr val="FBAE40"/>
          </p15:clr>
        </p15:guide>
        <p15:guide id="2" pos="2965">
          <p15:clr>
            <a:srgbClr val="FBAE40"/>
          </p15:clr>
        </p15:guide>
        <p15:guide id="3" orient="horz" pos="849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Body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8435"/>
            <a:ext cx="8497093" cy="1007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6" name="Table Placeholder 12">
            <a:extLst>
              <a:ext uri="{FF2B5EF4-FFF2-40B4-BE49-F238E27FC236}">
                <a16:creationId xmlns:a16="http://schemas.microsoft.com/office/drawing/2014/main" id="{D90CC8CD-0F46-F240-AF4E-99DE2A9ECF9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208314"/>
            <a:ext cx="8497093" cy="30756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table</a:t>
            </a:r>
            <a:endParaRPr lang="fi-FI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4CDEE4-AFAC-4BB1-B02E-FDE939F20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2C686F0-0C1B-46BD-9DE7-A93BAA6AC8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4338FCB4-9412-423F-84B9-91EDDBA25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64804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00">
          <p15:clr>
            <a:srgbClr val="FBAE40"/>
          </p15:clr>
        </p15:guide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Body slide -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14" name="Table Placeholder 12">
            <a:extLst>
              <a:ext uri="{FF2B5EF4-FFF2-40B4-BE49-F238E27FC236}">
                <a16:creationId xmlns:a16="http://schemas.microsoft.com/office/drawing/2014/main" id="{BBBD8CFA-2274-400B-84ED-AD95B6C224E6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198547"/>
            <a:ext cx="5486014" cy="14437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table</a:t>
            </a:r>
            <a:endParaRPr lang="fi-FI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93B047F6-3228-402F-9203-526F72E0AFAD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287338" y="2803849"/>
            <a:ext cx="5486014" cy="1480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table</a:t>
            </a:r>
            <a:endParaRPr lang="fi-FI"/>
          </a:p>
        </p:txBody>
      </p:sp>
      <p:sp>
        <p:nvSpPr>
          <p:cNvPr id="2" name="Suorakulmio 1"/>
          <p:cNvSpPr/>
          <p:nvPr userDrawn="1"/>
        </p:nvSpPr>
        <p:spPr>
          <a:xfrm>
            <a:off x="6288119" y="1198545"/>
            <a:ext cx="2167128" cy="31120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7451"/>
            <a:ext cx="8167909" cy="10095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4722C4-26CA-4157-95A3-B7176EEF8B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8279" y="1450909"/>
            <a:ext cx="1624668" cy="2623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en-US" sz="17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1pPr>
            <a:lvl2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2pPr>
            <a:lvl3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3pPr>
            <a:lvl4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4pPr>
            <a:lvl5pPr>
              <a:defRPr lang="fi-FI" sz="1500" b="1" kern="1200" dirty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ADAB2CE-4212-44E9-B137-C1C680FB6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4E096FB-FCA1-4B5C-ACD6-0CEFB3F917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5" name="Alatunnisteen paikkamerkki 1">
            <a:extLst>
              <a:ext uri="{FF2B5EF4-FFF2-40B4-BE49-F238E27FC236}">
                <a16:creationId xmlns:a16="http://schemas.microsoft.com/office/drawing/2014/main" id="{3C30B25E-7918-4E31-B8C8-B2EDDFA11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9467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Body slide - Black and red text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B642BD-45BB-4F77-82AA-AE37473CB2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81652838-FE86-4ABD-9F9D-AFD4E96BB5D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2" name="Alatunnisteen paikkamerkki 1">
            <a:extLst>
              <a:ext uri="{FF2B5EF4-FFF2-40B4-BE49-F238E27FC236}">
                <a16:creationId xmlns:a16="http://schemas.microsoft.com/office/drawing/2014/main" id="{0B96DB4D-EBEA-407A-A811-A01FA90FC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6" name="Chart Placeholder 2">
            <a:extLst>
              <a:ext uri="{FF2B5EF4-FFF2-40B4-BE49-F238E27FC236}">
                <a16:creationId xmlns:a16="http://schemas.microsoft.com/office/drawing/2014/main" id="{09161BE7-F8D2-4ACD-83CC-1D9839ED404B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3654028" y="519112"/>
            <a:ext cx="5130403" cy="4153628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>
                <a:solidFill>
                  <a:schemeClr val="tx1">
                    <a:alpha val="17000"/>
                  </a:schemeClr>
                </a:solidFill>
              </a:defRPr>
            </a:lvl1pPr>
          </a:lstStyle>
          <a:p>
            <a:r>
              <a:rPr lang="fi-FI" err="1"/>
              <a:t>Click</a:t>
            </a:r>
            <a:r>
              <a:rPr lang="fi-FI"/>
              <a:t> </a:t>
            </a:r>
            <a:r>
              <a:rPr lang="fi-FI" err="1"/>
              <a:t>icon</a:t>
            </a:r>
            <a:r>
              <a:rPr lang="fi-FI"/>
              <a:t> to </a:t>
            </a:r>
            <a:r>
              <a:rPr lang="fi-FI" err="1"/>
              <a:t>add</a:t>
            </a:r>
            <a:r>
              <a:rPr lang="fi-FI"/>
              <a:t> </a:t>
            </a:r>
            <a:r>
              <a:rPr lang="fi-FI" err="1"/>
              <a:t>chart</a:t>
            </a:r>
            <a:endParaRPr lang="fi-FI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BF71F6C-31BF-8A4F-AA9D-13A108C26B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5" cy="16680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818ADAA-0D73-2649-A90F-A489016A1095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394855"/>
            <a:ext cx="3015456" cy="18722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</p:spTree>
    <p:extLst>
      <p:ext uri="{BB962C8B-B14F-4D97-AF65-F5344CB8AC3E}">
        <p14:creationId xmlns:p14="http://schemas.microsoft.com/office/powerpoint/2010/main" val="2973601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1">
          <p15:clr>
            <a:srgbClr val="FBAE40"/>
          </p15:clr>
        </p15:guide>
        <p15:guide id="2" pos="2302">
          <p15:clr>
            <a:srgbClr val="FBAE40"/>
          </p15:clr>
        </p15:guide>
        <p15:guide id="3" pos="553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43296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Process slide -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4503" y="27708"/>
            <a:ext cx="8489928" cy="9958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6A9AB-7FD4-4A4D-8EF5-3255560CFB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0831" y="2534491"/>
            <a:ext cx="1539000" cy="1753903"/>
          </a:xfrm>
          <a:prstGeom prst="rect">
            <a:avLst/>
          </a:prstGeom>
        </p:spPr>
        <p:txBody>
          <a:bodyPr lIns="0" tIns="0" rIns="0" bIns="0"/>
          <a:lstStyle>
            <a:lvl1pPr marL="81000" indent="-81000" algn="l" defTabSz="514436" rtl="0" eaLnBrk="1" latinLnBrk="0" hangingPunct="1">
              <a:lnSpc>
                <a:spcPct val="100000"/>
              </a:lnSpc>
              <a:buFont typeface="Arial" charset="0"/>
              <a:buChar char="•"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ts val="1500"/>
              </a:lnSpc>
              <a:buNone/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  <a:lvl3pPr>
              <a:buClr>
                <a:schemeClr val="bg1"/>
              </a:buClr>
              <a:defRPr sz="788">
                <a:solidFill>
                  <a:schemeClr val="bg1"/>
                </a:solidFill>
              </a:defRPr>
            </a:lvl3pPr>
          </a:lstStyle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r>
              <a:rPr lang="fi-FI"/>
              <a:t>Add text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9987C57-966C-4855-9310-5E356BB3CB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3997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0020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2014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9168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2015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3649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2016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4135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2017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14621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2018</a:t>
            </a:r>
          </a:p>
        </p:txBody>
      </p:sp>
      <p:pic>
        <p:nvPicPr>
          <p:cNvPr id="16" name="Kuva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827BBD5-9E69-4D6A-ACDE-EC26CFE2F6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71501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BA48B8B-BD2C-4A39-82AF-63EB5DF45D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15995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DACDC4A-3163-4169-8C73-15CC127E50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4751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7A6B884-331F-40FA-8908-119224136FD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A749CABA-9FF3-45EA-9953-7B719CB699D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FF271C0B-E7D3-474B-A483-3CBA7656076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426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Process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4000"/>
            <a:ext cx="2052735" cy="85723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F47391-4AC0-4F7E-BFA1-6D69FD784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EF0705C-E100-4768-B5FA-237B27E15CFD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7" name="Alatunnisteen paikkamerkki 1">
            <a:extLst>
              <a:ext uri="{FF2B5EF4-FFF2-40B4-BE49-F238E27FC236}">
                <a16:creationId xmlns:a16="http://schemas.microsoft.com/office/drawing/2014/main" id="{84C2D171-9BD9-4BE0-A001-56E727390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8264"/>
            <a:ext cx="8497093" cy="1136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1754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385879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2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126004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3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856800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4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7582931" y="1312197"/>
            <a:ext cx="864000" cy="85885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/>
              <a:t>5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20109F-4A5D-AF40-A937-1636D1D64A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4254" y="2304305"/>
            <a:ext cx="1539000" cy="19796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Point 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1A38691-037D-394F-800A-B98CC5204D3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2048379" y="2318301"/>
            <a:ext cx="1539000" cy="19657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Point 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91022EE-194A-0147-A4C1-5527DCEE10B9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788504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Point 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9974140-1C49-A14E-96F4-B74CDFC7AA8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5519300" y="2318299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Point 4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A54D1A0-56C3-904B-A447-7E1980F40DB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7245431" y="2318299"/>
            <a:ext cx="1539000" cy="19657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Point 4</a:t>
            </a:r>
          </a:p>
        </p:txBody>
      </p:sp>
    </p:spTree>
    <p:extLst>
      <p:ext uri="{BB962C8B-B14F-4D97-AF65-F5344CB8AC3E}">
        <p14:creationId xmlns:p14="http://schemas.microsoft.com/office/powerpoint/2010/main" val="2765616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6450" y="0"/>
            <a:ext cx="9160449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20"/>
          </a:p>
        </p:txBody>
      </p:sp>
      <p:sp>
        <p:nvSpPr>
          <p:cNvPr id="12" name="Otsikko 1">
            <a:hlinkClick r:id="rId2"/>
          </p:cNvPr>
          <p:cNvSpPr txBox="1">
            <a:spLocks/>
          </p:cNvSpPr>
          <p:nvPr userDrawn="1"/>
        </p:nvSpPr>
        <p:spPr>
          <a:xfrm>
            <a:off x="3717365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800" spc="0" baseline="0">
                <a:latin typeface="Arial"/>
                <a:cs typeface="Arial"/>
              </a:rPr>
              <a:t>aalto.fi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094339" y="2868216"/>
            <a:ext cx="2955323" cy="353760"/>
            <a:chOff x="4484925" y="3824288"/>
            <a:chExt cx="3940431" cy="471680"/>
          </a:xfrm>
        </p:grpSpPr>
        <p:pic>
          <p:nvPicPr>
            <p:cNvPr id="7" name="Picture 6" descr="FB.png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4925" y="3824416"/>
              <a:ext cx="471553" cy="471552"/>
            </a:xfrm>
            <a:prstGeom prst="rect">
              <a:avLst/>
            </a:prstGeom>
          </p:spPr>
        </p:pic>
        <p:pic>
          <p:nvPicPr>
            <p:cNvPr id="8" name="Picture 7" descr="IG.png">
              <a:hlinkClick r:id="rId5"/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4502" y="3824416"/>
              <a:ext cx="471553" cy="471552"/>
            </a:xfrm>
            <a:prstGeom prst="rect">
              <a:avLst/>
            </a:prstGeom>
          </p:spPr>
        </p:pic>
        <p:pic>
          <p:nvPicPr>
            <p:cNvPr id="9" name="Picture 8" descr="Twitter.png">
              <a:hlinkClick r:id="rId7"/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4079" y="3824416"/>
              <a:ext cx="471553" cy="471552"/>
            </a:xfrm>
            <a:prstGeom prst="rect">
              <a:avLst/>
            </a:prstGeom>
          </p:spPr>
        </p:pic>
        <p:pic>
          <p:nvPicPr>
            <p:cNvPr id="10" name="Picture 9" descr="Youtube.png">
              <a:hlinkClick r:id="rId9"/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3656" y="3824416"/>
              <a:ext cx="471553" cy="471552"/>
            </a:xfrm>
            <a:prstGeom prst="rect">
              <a:avLst/>
            </a:prstGeom>
          </p:spPr>
        </p:pic>
        <p:pic>
          <p:nvPicPr>
            <p:cNvPr id="11" name="Picture 10" descr="SC.png">
              <a:hlinkClick r:id="rId11"/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3233" y="3824416"/>
              <a:ext cx="471553" cy="471552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2812" y="3824288"/>
              <a:ext cx="542544" cy="457200"/>
            </a:xfrm>
            <a:prstGeom prst="rect">
              <a:avLst/>
            </a:prstGeom>
          </p:spPr>
        </p:pic>
      </p:grp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88" y="1364641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rgbClr val="FFFFFF"/>
                </a:solidFill>
                <a:latin typeface="+mj-lt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i-FI"/>
              <a:t>Add text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67895"/>
            <a:ext cx="1734813" cy="1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963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7">
          <p15:clr>
            <a:srgbClr val="FBAE40"/>
          </p15:clr>
        </p15:guide>
        <p15:guide id="2" orient="horz" pos="2028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Sub 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67895"/>
            <a:ext cx="1734813" cy="1675605"/>
          </a:xfrm>
          <a:prstGeom prst="rect">
            <a:avLst/>
          </a:prstGeom>
        </p:spPr>
      </p:pic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713" y="0"/>
            <a:ext cx="456728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569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67895"/>
            <a:ext cx="1734813" cy="1675605"/>
          </a:xfrm>
          <a:prstGeom prst="rect">
            <a:avLst/>
          </a:prstGeom>
        </p:spPr>
      </p:pic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4273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67895"/>
            <a:ext cx="1734813" cy="1675605"/>
          </a:xfrm>
          <a:prstGeom prst="rect">
            <a:avLst/>
          </a:prstGeom>
        </p:spPr>
      </p:pic>
      <p:pic>
        <p:nvPicPr>
          <p:cNvPr id="3" name="Kuva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712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Sub 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3682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/>
              <a:t>Lorem </a:t>
            </a:r>
            <a:r>
              <a:rPr lang="fi-FI" err="1"/>
              <a:t>ipsum</a:t>
            </a:r>
            <a:r>
              <a:rPr lang="fi-FI"/>
              <a:t> </a:t>
            </a:r>
            <a:r>
              <a:rPr lang="fi-FI" err="1"/>
              <a:t>dolor</a:t>
            </a:r>
            <a:r>
              <a:rPr lang="fi-FI"/>
              <a:t> </a:t>
            </a:r>
            <a:r>
              <a:rPr lang="fi-FI" err="1"/>
              <a:t>sit</a:t>
            </a:r>
            <a:r>
              <a:rPr lang="fi-FI"/>
              <a:t> amet, </a:t>
            </a:r>
            <a:r>
              <a:rPr lang="fi-FI" err="1"/>
              <a:t>consectetur</a:t>
            </a:r>
            <a:r>
              <a:rPr lang="fi-FI"/>
              <a:t> adipiscing elit. </a:t>
            </a:r>
            <a:r>
              <a:rPr lang="fi-FI" err="1"/>
              <a:t>Maecenas</a:t>
            </a:r>
            <a:r>
              <a:rPr lang="fi-FI"/>
              <a:t> </a:t>
            </a:r>
            <a:r>
              <a:rPr lang="fi-FI" err="1"/>
              <a:t>velit</a:t>
            </a:r>
            <a:r>
              <a:rPr lang="fi-FI"/>
              <a:t> </a:t>
            </a:r>
            <a:r>
              <a:rPr lang="fi-FI" err="1"/>
              <a:t>velit</a:t>
            </a:r>
            <a:r>
              <a:rPr lang="fi-FI"/>
              <a:t>, </a:t>
            </a:r>
            <a:r>
              <a:rPr lang="fi-FI" err="1"/>
              <a:t>consequat</a:t>
            </a:r>
            <a:r>
              <a:rPr lang="fi-FI"/>
              <a:t> </a:t>
            </a:r>
            <a:r>
              <a:rPr lang="fi-FI" err="1"/>
              <a:t>eget</a:t>
            </a:r>
            <a:r>
              <a:rPr lang="fi-FI"/>
              <a:t> </a:t>
            </a:r>
            <a:r>
              <a:rPr lang="fi-FI" err="1"/>
              <a:t>ullamcorper</a:t>
            </a:r>
            <a:r>
              <a:rPr lang="fi-FI"/>
              <a:t> a, </a:t>
            </a:r>
            <a:r>
              <a:rPr lang="fi-FI" err="1"/>
              <a:t>maximus</a:t>
            </a:r>
            <a:r>
              <a:rPr lang="fi-FI"/>
              <a:t> </a:t>
            </a:r>
            <a:r>
              <a:rPr lang="fi-FI" err="1"/>
              <a:t>ac</a:t>
            </a:r>
            <a:r>
              <a:rPr lang="fi-FI"/>
              <a:t> ex.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5165" y="0"/>
            <a:ext cx="4428835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13382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/>
              <a:t>Lorem </a:t>
            </a:r>
            <a:r>
              <a:rPr lang="fi-FI" err="1"/>
              <a:t>ipsum</a:t>
            </a:r>
            <a:r>
              <a:rPr lang="fi-FI"/>
              <a:t> </a:t>
            </a:r>
            <a:r>
              <a:rPr lang="fi-FI" err="1"/>
              <a:t>dolor</a:t>
            </a:r>
            <a:r>
              <a:rPr lang="fi-FI"/>
              <a:t> </a:t>
            </a:r>
            <a:r>
              <a:rPr lang="fi-FI" err="1"/>
              <a:t>sit</a:t>
            </a:r>
            <a:r>
              <a:rPr lang="fi-FI"/>
              <a:t> amet, </a:t>
            </a:r>
            <a:r>
              <a:rPr lang="fi-FI" err="1"/>
              <a:t>consectetur</a:t>
            </a:r>
            <a:r>
              <a:rPr lang="fi-FI"/>
              <a:t> </a:t>
            </a:r>
            <a:r>
              <a:rPr lang="fi-FI" err="1"/>
              <a:t>adipiscing</a:t>
            </a:r>
            <a:r>
              <a:rPr lang="fi-FI"/>
              <a:t> elit. Maecenas </a:t>
            </a:r>
            <a:r>
              <a:rPr lang="fi-FI" err="1"/>
              <a:t>velit</a:t>
            </a:r>
            <a:r>
              <a:rPr lang="fi-FI"/>
              <a:t> </a:t>
            </a:r>
            <a:r>
              <a:rPr lang="fi-FI" err="1"/>
              <a:t>velit</a:t>
            </a:r>
            <a:r>
              <a:rPr lang="fi-FI"/>
              <a:t>, </a:t>
            </a:r>
            <a:r>
              <a:rPr lang="fi-FI" err="1"/>
              <a:t>consequat</a:t>
            </a:r>
            <a:r>
              <a:rPr lang="fi-FI"/>
              <a:t> </a:t>
            </a:r>
            <a:r>
              <a:rPr lang="fi-FI" err="1"/>
              <a:t>eget</a:t>
            </a:r>
            <a:r>
              <a:rPr lang="fi-FI"/>
              <a:t> </a:t>
            </a:r>
            <a:r>
              <a:rPr lang="fi-FI" err="1"/>
              <a:t>ullamcorper</a:t>
            </a:r>
            <a:r>
              <a:rPr lang="fi-FI"/>
              <a:t> a, </a:t>
            </a:r>
            <a:r>
              <a:rPr lang="fi-FI" err="1"/>
              <a:t>maximus</a:t>
            </a:r>
            <a:r>
              <a:rPr lang="fi-FI"/>
              <a:t> </a:t>
            </a:r>
            <a:r>
              <a:rPr lang="fi-FI" err="1"/>
              <a:t>ac</a:t>
            </a:r>
            <a:r>
              <a:rPr lang="fi-FI"/>
              <a:t> ex.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2829" y="0"/>
            <a:ext cx="4421171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8547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/>
              <a:t>Lorem </a:t>
            </a:r>
            <a:r>
              <a:rPr lang="fi-FI" err="1"/>
              <a:t>ipsum</a:t>
            </a:r>
            <a:r>
              <a:rPr lang="fi-FI"/>
              <a:t> </a:t>
            </a:r>
            <a:r>
              <a:rPr lang="fi-FI" err="1"/>
              <a:t>dolor</a:t>
            </a:r>
            <a:r>
              <a:rPr lang="fi-FI"/>
              <a:t> </a:t>
            </a:r>
            <a:r>
              <a:rPr lang="fi-FI" err="1"/>
              <a:t>sit</a:t>
            </a:r>
            <a:r>
              <a:rPr lang="fi-FI"/>
              <a:t> amet, </a:t>
            </a:r>
            <a:r>
              <a:rPr lang="fi-FI" err="1"/>
              <a:t>consectetur</a:t>
            </a:r>
            <a:r>
              <a:rPr lang="fi-FI"/>
              <a:t> </a:t>
            </a:r>
            <a:r>
              <a:rPr lang="fi-FI" err="1"/>
              <a:t>adipiscing</a:t>
            </a:r>
            <a:r>
              <a:rPr lang="fi-FI"/>
              <a:t> elit. Maecenas </a:t>
            </a:r>
            <a:r>
              <a:rPr lang="fi-FI" err="1"/>
              <a:t>velit</a:t>
            </a:r>
            <a:r>
              <a:rPr lang="fi-FI"/>
              <a:t> </a:t>
            </a:r>
            <a:r>
              <a:rPr lang="fi-FI" err="1"/>
              <a:t>velit</a:t>
            </a:r>
            <a:r>
              <a:rPr lang="fi-FI"/>
              <a:t>, consequat </a:t>
            </a:r>
            <a:r>
              <a:rPr lang="fi-FI" err="1"/>
              <a:t>eget</a:t>
            </a:r>
            <a:r>
              <a:rPr lang="fi-FI"/>
              <a:t> </a:t>
            </a:r>
            <a:r>
              <a:rPr lang="fi-FI" err="1"/>
              <a:t>ullamcorper</a:t>
            </a:r>
            <a:r>
              <a:rPr lang="fi-FI"/>
              <a:t> a, </a:t>
            </a:r>
            <a:r>
              <a:rPr lang="fi-FI" err="1"/>
              <a:t>maximus</a:t>
            </a:r>
            <a:r>
              <a:rPr lang="fi-FI"/>
              <a:t> </a:t>
            </a:r>
            <a:r>
              <a:rPr lang="fi-FI" err="1"/>
              <a:t>ac</a:t>
            </a:r>
            <a:r>
              <a:rPr lang="fi-FI"/>
              <a:t> ex.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6700"/>
            <a:ext cx="1969868" cy="856800"/>
          </a:xfrm>
          <a:prstGeom prst="rect">
            <a:avLst/>
          </a:prstGeom>
        </p:spPr>
      </p:pic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3402" y="0"/>
            <a:ext cx="4430598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5741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223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86519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666750" y="862013"/>
            <a:ext cx="7810500" cy="1743075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66750" y="2652713"/>
            <a:ext cx="7810500" cy="59531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823"/>
            </a:lvl1pPr>
            <a:lvl2pPr marL="0" indent="0" algn="ctr">
              <a:spcBef>
                <a:spcPts val="0"/>
              </a:spcBef>
              <a:buSzTx/>
              <a:buNone/>
              <a:defRPr sz="1823"/>
            </a:lvl2pPr>
            <a:lvl3pPr marL="0" indent="0" algn="ctr">
              <a:spcBef>
                <a:spcPts val="0"/>
              </a:spcBef>
              <a:buSzTx/>
              <a:buNone/>
              <a:defRPr sz="1823"/>
            </a:lvl3pPr>
            <a:lvl4pPr marL="0" indent="0" algn="ctr">
              <a:spcBef>
                <a:spcPts val="0"/>
              </a:spcBef>
              <a:buSzTx/>
              <a:buNone/>
              <a:defRPr sz="1823"/>
            </a:lvl4pPr>
            <a:lvl5pPr marL="0" indent="0" algn="ctr">
              <a:spcBef>
                <a:spcPts val="0"/>
              </a:spcBef>
              <a:buSzTx/>
              <a:buNone/>
              <a:defRPr sz="1823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9850750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Image"/>
          <p:cNvSpPr>
            <a:spLocks noGrp="1"/>
          </p:cNvSpPr>
          <p:nvPr>
            <p:ph type="pic" sz="half" idx="13"/>
          </p:nvPr>
        </p:nvSpPr>
        <p:spPr>
          <a:xfrm>
            <a:off x="4110039" y="1181100"/>
            <a:ext cx="5229225" cy="34861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33413" y="1181100"/>
            <a:ext cx="3833813" cy="3486150"/>
          </a:xfrm>
          <a:prstGeom prst="rect">
            <a:avLst/>
          </a:prstGeom>
        </p:spPr>
        <p:txBody>
          <a:bodyPr/>
          <a:lstStyle>
            <a:lvl1pPr marL="188595" indent="-188595">
              <a:spcBef>
                <a:spcPts val="1519"/>
              </a:spcBef>
              <a:defRPr sz="1283"/>
            </a:lvl1pPr>
            <a:lvl2pPr marL="377190" indent="-188595">
              <a:spcBef>
                <a:spcPts val="1519"/>
              </a:spcBef>
              <a:defRPr sz="1283"/>
            </a:lvl2pPr>
            <a:lvl3pPr marL="565785" indent="-188595">
              <a:spcBef>
                <a:spcPts val="1519"/>
              </a:spcBef>
              <a:defRPr sz="1283"/>
            </a:lvl3pPr>
            <a:lvl4pPr marL="754380" indent="-188595">
              <a:spcBef>
                <a:spcPts val="1519"/>
              </a:spcBef>
              <a:defRPr sz="1283"/>
            </a:lvl4pPr>
            <a:lvl5pPr marL="942975" indent="-188595">
              <a:spcBef>
                <a:spcPts val="1519"/>
              </a:spcBef>
              <a:defRPr sz="1283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1211534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xfrm>
            <a:off x="633414" y="666751"/>
            <a:ext cx="7877175" cy="3810000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4782890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Image"/>
          <p:cNvSpPr>
            <a:spLocks noGrp="1"/>
          </p:cNvSpPr>
          <p:nvPr>
            <p:ph type="pic" sz="quarter" idx="13"/>
          </p:nvPr>
        </p:nvSpPr>
        <p:spPr>
          <a:xfrm>
            <a:off x="5880503" y="2638425"/>
            <a:ext cx="3148756" cy="210026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Image"/>
          <p:cNvSpPr>
            <a:spLocks noGrp="1"/>
          </p:cNvSpPr>
          <p:nvPr>
            <p:ph type="pic" sz="quarter" idx="14"/>
          </p:nvPr>
        </p:nvSpPr>
        <p:spPr>
          <a:xfrm>
            <a:off x="5734050" y="423862"/>
            <a:ext cx="3124200" cy="20828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7" name="Image"/>
          <p:cNvSpPr>
            <a:spLocks noGrp="1"/>
          </p:cNvSpPr>
          <p:nvPr>
            <p:ph type="pic" idx="15"/>
          </p:nvPr>
        </p:nvSpPr>
        <p:spPr>
          <a:xfrm>
            <a:off x="-114300" y="423862"/>
            <a:ext cx="6450806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6834211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95351" y="3357563"/>
            <a:ext cx="7358063" cy="21957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080" i="1"/>
            </a:lvl1pPr>
            <a:lvl2pPr marL="346197" indent="-131884" algn="ctr">
              <a:spcBef>
                <a:spcPts val="0"/>
              </a:spcBef>
              <a:defRPr sz="1080" i="1"/>
            </a:lvl2pPr>
            <a:lvl3pPr marL="560509" indent="-131884" algn="ctr">
              <a:spcBef>
                <a:spcPts val="0"/>
              </a:spcBef>
              <a:defRPr sz="1080" i="1"/>
            </a:lvl3pPr>
            <a:lvl4pPr marL="774822" indent="-131884" algn="ctr">
              <a:spcBef>
                <a:spcPts val="0"/>
              </a:spcBef>
              <a:defRPr sz="1080" i="1"/>
            </a:lvl4pPr>
            <a:lvl5pPr marL="989134" indent="-131884" algn="ctr">
              <a:spcBef>
                <a:spcPts val="0"/>
              </a:spcBef>
              <a:defRPr sz="1080" i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“Type a quote here.”"/>
          <p:cNvSpPr txBox="1">
            <a:spLocks noGrp="1"/>
          </p:cNvSpPr>
          <p:nvPr>
            <p:ph type="body" sz="quarter" idx="13"/>
          </p:nvPr>
        </p:nvSpPr>
        <p:spPr>
          <a:xfrm>
            <a:off x="895351" y="2278857"/>
            <a:ext cx="7358063" cy="309562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8512791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Image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09917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2540573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6571118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si valkoisella yläosa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apaamuotoinen: Muoto 6">
            <a:extLst>
              <a:ext uri="{FF2B5EF4-FFF2-40B4-BE49-F238E27FC236}">
                <a16:creationId xmlns:a16="http://schemas.microsoft.com/office/drawing/2014/main" id="{A8624717-6579-4108-8822-5868869BFBE2}"/>
              </a:ext>
            </a:extLst>
          </p:cNvPr>
          <p:cNvSpPr/>
          <p:nvPr userDrawn="1"/>
        </p:nvSpPr>
        <p:spPr>
          <a:xfrm>
            <a:off x="0" y="1194435"/>
            <a:ext cx="9149715" cy="3954780"/>
          </a:xfrm>
          <a:custGeom>
            <a:avLst/>
            <a:gdLst>
              <a:gd name="connsiteX0" fmla="*/ 0 w 12199620"/>
              <a:gd name="connsiteY0" fmla="*/ 1028700 h 5273040"/>
              <a:gd name="connsiteX1" fmla="*/ 3794760 w 12199620"/>
              <a:gd name="connsiteY1" fmla="*/ 0 h 5273040"/>
              <a:gd name="connsiteX2" fmla="*/ 12199620 w 12199620"/>
              <a:gd name="connsiteY2" fmla="*/ 0 h 5273040"/>
              <a:gd name="connsiteX3" fmla="*/ 12192000 w 12199620"/>
              <a:gd name="connsiteY3" fmla="*/ 5257800 h 5273040"/>
              <a:gd name="connsiteX4" fmla="*/ 0 w 12199620"/>
              <a:gd name="connsiteY4" fmla="*/ 5273040 h 5273040"/>
              <a:gd name="connsiteX5" fmla="*/ 0 w 12199620"/>
              <a:gd name="connsiteY5" fmla="*/ 1028700 h 527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9620" h="5273040">
                <a:moveTo>
                  <a:pt x="0" y="1028700"/>
                </a:moveTo>
                <a:lnTo>
                  <a:pt x="3794760" y="0"/>
                </a:lnTo>
                <a:lnTo>
                  <a:pt x="12199620" y="0"/>
                </a:lnTo>
                <a:lnTo>
                  <a:pt x="12192000" y="5257800"/>
                </a:lnTo>
                <a:lnTo>
                  <a:pt x="0" y="5273040"/>
                </a:lnTo>
                <a:lnTo>
                  <a:pt x="0" y="102870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830683" y="2208999"/>
            <a:ext cx="50761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-113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1"/>
          </p:nvPr>
        </p:nvSpPr>
        <p:spPr>
          <a:xfrm>
            <a:off x="3830682" y="3997392"/>
            <a:ext cx="5076100" cy="5484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50" i="0">
                <a:solidFill>
                  <a:schemeClr val="bg1"/>
                </a:solidFill>
                <a:latin typeface="+mj-lt"/>
                <a:cs typeface="Georgi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0" name="Vapaamuotoinen: Muoto 9">
            <a:extLst>
              <a:ext uri="{FF2B5EF4-FFF2-40B4-BE49-F238E27FC236}">
                <a16:creationId xmlns:a16="http://schemas.microsoft.com/office/drawing/2014/main" id="{3902340E-5017-42B8-BD74-15ACF0A672AD}"/>
              </a:ext>
            </a:extLst>
          </p:cNvPr>
          <p:cNvSpPr/>
          <p:nvPr userDrawn="1"/>
        </p:nvSpPr>
        <p:spPr>
          <a:xfrm>
            <a:off x="815815" y="1193573"/>
            <a:ext cx="3021398" cy="3954369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  <a:gd name="connsiteX0" fmla="*/ 2181497 w 5625737"/>
              <a:gd name="connsiteY0" fmla="*/ 6896100 h 6896100"/>
              <a:gd name="connsiteX1" fmla="*/ 0 w 5625737"/>
              <a:gd name="connsiteY1" fmla="*/ 4830192 h 6896100"/>
              <a:gd name="connsiteX2" fmla="*/ 482237 w 5625737"/>
              <a:gd name="connsiteY2" fmla="*/ 0 h 6896100"/>
              <a:gd name="connsiteX3" fmla="*/ 5625737 w 5625737"/>
              <a:gd name="connsiteY3" fmla="*/ 30480 h 6896100"/>
              <a:gd name="connsiteX4" fmla="*/ 3484517 w 5625737"/>
              <a:gd name="connsiteY4" fmla="*/ 6895465 h 6896100"/>
              <a:gd name="connsiteX5" fmla="*/ 2181497 w 5625737"/>
              <a:gd name="connsiteY5" fmla="*/ 6896100 h 6896100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3934218 w 6075438"/>
              <a:gd name="connsiteY4" fmla="*/ 6895465 h 7168259"/>
              <a:gd name="connsiteX5" fmla="*/ 44753 w 6075438"/>
              <a:gd name="connsiteY5" fmla="*/ 7168259 h 7168259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1341241 w 6075438"/>
              <a:gd name="connsiteY4" fmla="*/ 7159120 h 7168259"/>
              <a:gd name="connsiteX5" fmla="*/ 44753 w 6075438"/>
              <a:gd name="connsiteY5" fmla="*/ 7168259 h 7168259"/>
              <a:gd name="connsiteX0" fmla="*/ 497478 w 6528163"/>
              <a:gd name="connsiteY0" fmla="*/ 7137779 h 7137779"/>
              <a:gd name="connsiteX1" fmla="*/ 902426 w 6528163"/>
              <a:gd name="connsiteY1" fmla="*/ 4799712 h 7137779"/>
              <a:gd name="connsiteX2" fmla="*/ 0 w 6528163"/>
              <a:gd name="connsiteY2" fmla="*/ 1194232 h 7137779"/>
              <a:gd name="connsiteX3" fmla="*/ 6528163 w 6528163"/>
              <a:gd name="connsiteY3" fmla="*/ 0 h 7137779"/>
              <a:gd name="connsiteX4" fmla="*/ 1793966 w 6528163"/>
              <a:gd name="connsiteY4" fmla="*/ 7128640 h 7137779"/>
              <a:gd name="connsiteX5" fmla="*/ 497478 w 6528163"/>
              <a:gd name="connsiteY5" fmla="*/ 7137779 h 7137779"/>
              <a:gd name="connsiteX0" fmla="*/ 44754 w 6075439"/>
              <a:gd name="connsiteY0" fmla="*/ 7137779 h 7137779"/>
              <a:gd name="connsiteX1" fmla="*/ 449702 w 6075439"/>
              <a:gd name="connsiteY1" fmla="*/ 4799712 h 7137779"/>
              <a:gd name="connsiteX2" fmla="*/ 2166378 w 6075439"/>
              <a:gd name="connsiteY2" fmla="*/ 275697 h 7137779"/>
              <a:gd name="connsiteX3" fmla="*/ 6075439 w 6075439"/>
              <a:gd name="connsiteY3" fmla="*/ 0 h 7137779"/>
              <a:gd name="connsiteX4" fmla="*/ 1341242 w 6075439"/>
              <a:gd name="connsiteY4" fmla="*/ 7128640 h 7137779"/>
              <a:gd name="connsiteX5" fmla="*/ 44754 w 6075439"/>
              <a:gd name="connsiteY5" fmla="*/ 7137779 h 7137779"/>
              <a:gd name="connsiteX0" fmla="*/ 607424 w 6638109"/>
              <a:gd name="connsiteY0" fmla="*/ 7137779 h 7137779"/>
              <a:gd name="connsiteX1" fmla="*/ 0 w 6638109"/>
              <a:gd name="connsiteY1" fmla="*/ 1219127 h 7137779"/>
              <a:gd name="connsiteX2" fmla="*/ 2729048 w 6638109"/>
              <a:gd name="connsiteY2" fmla="*/ 275697 h 7137779"/>
              <a:gd name="connsiteX3" fmla="*/ 6638109 w 6638109"/>
              <a:gd name="connsiteY3" fmla="*/ 0 h 7137779"/>
              <a:gd name="connsiteX4" fmla="*/ 1903912 w 6638109"/>
              <a:gd name="connsiteY4" fmla="*/ 7128640 h 7137779"/>
              <a:gd name="connsiteX5" fmla="*/ 607424 w 6638109"/>
              <a:gd name="connsiteY5" fmla="*/ 7137779 h 7137779"/>
              <a:gd name="connsiteX0" fmla="*/ 607424 w 3862251"/>
              <a:gd name="connsiteY0" fmla="*/ 6862082 h 6862082"/>
              <a:gd name="connsiteX1" fmla="*/ 0 w 3862251"/>
              <a:gd name="connsiteY1" fmla="*/ 943430 h 6862082"/>
              <a:gd name="connsiteX2" fmla="*/ 2729048 w 3862251"/>
              <a:gd name="connsiteY2" fmla="*/ 0 h 6862082"/>
              <a:gd name="connsiteX3" fmla="*/ 3862251 w 3862251"/>
              <a:gd name="connsiteY3" fmla="*/ 523770 h 6862082"/>
              <a:gd name="connsiteX4" fmla="*/ 1903912 w 3862251"/>
              <a:gd name="connsiteY4" fmla="*/ 6852943 h 6862082"/>
              <a:gd name="connsiteX5" fmla="*/ 607424 w 3862251"/>
              <a:gd name="connsiteY5" fmla="*/ 6862082 h 6862082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694123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550274 w 3961856"/>
              <a:gd name="connsiteY0" fmla="*/ 6865619 h 6865619"/>
              <a:gd name="connsiteX1" fmla="*/ 0 w 3961856"/>
              <a:gd name="connsiteY1" fmla="*/ 1062729 h 6865619"/>
              <a:gd name="connsiteX2" fmla="*/ 2636973 w 3961856"/>
              <a:gd name="connsiteY2" fmla="*/ 3537 h 6865619"/>
              <a:gd name="connsiteX3" fmla="*/ 3961856 w 3961856"/>
              <a:gd name="connsiteY3" fmla="*/ 0 h 6865619"/>
              <a:gd name="connsiteX4" fmla="*/ 1846762 w 3961856"/>
              <a:gd name="connsiteY4" fmla="*/ 6856480 h 6865619"/>
              <a:gd name="connsiteX5" fmla="*/ 550274 w 3961856"/>
              <a:gd name="connsiteY5" fmla="*/ 6865619 h 6865619"/>
              <a:gd name="connsiteX0" fmla="*/ 616949 w 4028531"/>
              <a:gd name="connsiteY0" fmla="*/ 6865619 h 6865619"/>
              <a:gd name="connsiteX1" fmla="*/ 0 w 4028531"/>
              <a:gd name="connsiteY1" fmla="*/ 955236 h 6865619"/>
              <a:gd name="connsiteX2" fmla="*/ 2703648 w 4028531"/>
              <a:gd name="connsiteY2" fmla="*/ 3537 h 6865619"/>
              <a:gd name="connsiteX3" fmla="*/ 4028531 w 4028531"/>
              <a:gd name="connsiteY3" fmla="*/ 0 h 6865619"/>
              <a:gd name="connsiteX4" fmla="*/ 1913437 w 4028531"/>
              <a:gd name="connsiteY4" fmla="*/ 6856480 h 6865619"/>
              <a:gd name="connsiteX5" fmla="*/ 616949 w 4028531"/>
              <a:gd name="connsiteY5" fmla="*/ 6865619 h 686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531" h="6865619">
                <a:moveTo>
                  <a:pt x="616949" y="6865619"/>
                </a:moveTo>
                <a:lnTo>
                  <a:pt x="0" y="955236"/>
                </a:lnTo>
                <a:lnTo>
                  <a:pt x="2703648" y="3537"/>
                </a:lnTo>
                <a:lnTo>
                  <a:pt x="4028531" y="0"/>
                </a:lnTo>
                <a:lnTo>
                  <a:pt x="1913437" y="6856480"/>
                </a:lnTo>
                <a:lnTo>
                  <a:pt x="616949" y="6865619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CA4E07C5-95FA-4302-8838-DD6C14FDB5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0178"/>
            <a:ext cx="3200640" cy="1351769"/>
          </a:xfrm>
          <a:prstGeom prst="rect">
            <a:avLst/>
          </a:prstGeom>
        </p:spPr>
      </p:pic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451C1F37-4CC1-4448-B32A-A93A992D8028}"/>
              </a:ext>
            </a:extLst>
          </p:cNvPr>
          <p:cNvSpPr/>
          <p:nvPr userDrawn="1"/>
        </p:nvSpPr>
        <p:spPr>
          <a:xfrm>
            <a:off x="484959" y="3841909"/>
            <a:ext cx="2288620" cy="1301830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503170 w 3046730"/>
              <a:gd name="connsiteY2" fmla="*/ 1740535 h 1744980"/>
              <a:gd name="connsiteX3" fmla="*/ 0 w 3046730"/>
              <a:gd name="connsiteY3" fmla="*/ 1744980 h 17449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355532 w 3046730"/>
              <a:gd name="connsiteY2" fmla="*/ 1740535 h 1744980"/>
              <a:gd name="connsiteX3" fmla="*/ 0 w 3046730"/>
              <a:gd name="connsiteY3" fmla="*/ 1744980 h 1744980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355532 w 3051493"/>
              <a:gd name="connsiteY2" fmla="*/ 1735772 h 1740217"/>
              <a:gd name="connsiteX3" fmla="*/ 0 w 3051493"/>
              <a:gd name="connsiteY3" fmla="*/ 1740217 h 1740217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222182 w 3051493"/>
              <a:gd name="connsiteY2" fmla="*/ 1652429 h 1740217"/>
              <a:gd name="connsiteX3" fmla="*/ 0 w 3051493"/>
              <a:gd name="connsiteY3" fmla="*/ 1740217 h 1740217"/>
              <a:gd name="connsiteX0" fmla="*/ 0 w 3051493"/>
              <a:gd name="connsiteY0" fmla="*/ 1740217 h 1740535"/>
              <a:gd name="connsiteX1" fmla="*/ 3051493 w 3051493"/>
              <a:gd name="connsiteY1" fmla="*/ 0 h 1740535"/>
              <a:gd name="connsiteX2" fmla="*/ 2355532 w 3051493"/>
              <a:gd name="connsiteY2" fmla="*/ 1740535 h 1740535"/>
              <a:gd name="connsiteX3" fmla="*/ 0 w 3051493"/>
              <a:gd name="connsiteY3" fmla="*/ 1740217 h 1740535"/>
              <a:gd name="connsiteX0" fmla="*/ 0 w 3051493"/>
              <a:gd name="connsiteY0" fmla="*/ 1735455 h 1735773"/>
              <a:gd name="connsiteX1" fmla="*/ 3051493 w 3051493"/>
              <a:gd name="connsiteY1" fmla="*/ 0 h 1735773"/>
              <a:gd name="connsiteX2" fmla="*/ 2355532 w 3051493"/>
              <a:gd name="connsiteY2" fmla="*/ 1735773 h 1735773"/>
              <a:gd name="connsiteX3" fmla="*/ 0 w 3051493"/>
              <a:gd name="connsiteY3" fmla="*/ 1735455 h 1735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493" h="1735773">
                <a:moveTo>
                  <a:pt x="0" y="1735455"/>
                </a:moveTo>
                <a:lnTo>
                  <a:pt x="3051493" y="0"/>
                </a:lnTo>
                <a:lnTo>
                  <a:pt x="2355532" y="1735773"/>
                </a:lnTo>
                <a:lnTo>
                  <a:pt x="0" y="1735455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</p:spTree>
    <p:extLst>
      <p:ext uri="{BB962C8B-B14F-4D97-AF65-F5344CB8AC3E}">
        <p14:creationId xmlns:p14="http://schemas.microsoft.com/office/powerpoint/2010/main" val="174503605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llinen kansi sinisellä tekstill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apaamuotoinen: Muoto 6">
            <a:extLst>
              <a:ext uri="{FF2B5EF4-FFF2-40B4-BE49-F238E27FC236}">
                <a16:creationId xmlns:a16="http://schemas.microsoft.com/office/drawing/2014/main" id="{A8624717-6579-4108-8822-5868869BFBE2}"/>
              </a:ext>
            </a:extLst>
          </p:cNvPr>
          <p:cNvSpPr/>
          <p:nvPr userDrawn="1"/>
        </p:nvSpPr>
        <p:spPr>
          <a:xfrm>
            <a:off x="0" y="2024743"/>
            <a:ext cx="9149715" cy="3124472"/>
          </a:xfrm>
          <a:custGeom>
            <a:avLst/>
            <a:gdLst>
              <a:gd name="connsiteX0" fmla="*/ 0 w 12199620"/>
              <a:gd name="connsiteY0" fmla="*/ 1028700 h 5273040"/>
              <a:gd name="connsiteX1" fmla="*/ 3794760 w 12199620"/>
              <a:gd name="connsiteY1" fmla="*/ 0 h 5273040"/>
              <a:gd name="connsiteX2" fmla="*/ 12199620 w 12199620"/>
              <a:gd name="connsiteY2" fmla="*/ 0 h 5273040"/>
              <a:gd name="connsiteX3" fmla="*/ 12192000 w 12199620"/>
              <a:gd name="connsiteY3" fmla="*/ 5257800 h 5273040"/>
              <a:gd name="connsiteX4" fmla="*/ 0 w 12199620"/>
              <a:gd name="connsiteY4" fmla="*/ 5273040 h 5273040"/>
              <a:gd name="connsiteX5" fmla="*/ 0 w 12199620"/>
              <a:gd name="connsiteY5" fmla="*/ 1028700 h 527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9620" h="5273040">
                <a:moveTo>
                  <a:pt x="0" y="1028700"/>
                </a:moveTo>
                <a:lnTo>
                  <a:pt x="3794760" y="0"/>
                </a:lnTo>
                <a:lnTo>
                  <a:pt x="12199620" y="0"/>
                </a:lnTo>
                <a:lnTo>
                  <a:pt x="12192000" y="5257800"/>
                </a:lnTo>
                <a:lnTo>
                  <a:pt x="0" y="5273040"/>
                </a:lnTo>
                <a:lnTo>
                  <a:pt x="0" y="102870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830683" y="303999"/>
            <a:ext cx="50761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-113"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1"/>
          </p:nvPr>
        </p:nvSpPr>
        <p:spPr>
          <a:xfrm>
            <a:off x="3830682" y="4545875"/>
            <a:ext cx="5076100" cy="5484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50" i="0">
                <a:solidFill>
                  <a:schemeClr val="bg1"/>
                </a:solidFill>
                <a:latin typeface="+mj-lt"/>
                <a:cs typeface="Georgi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0" name="Vapaamuotoinen: Muoto 9">
            <a:extLst>
              <a:ext uri="{FF2B5EF4-FFF2-40B4-BE49-F238E27FC236}">
                <a16:creationId xmlns:a16="http://schemas.microsoft.com/office/drawing/2014/main" id="{3902340E-5017-42B8-BD74-15ACF0A672AD}"/>
              </a:ext>
            </a:extLst>
          </p:cNvPr>
          <p:cNvSpPr/>
          <p:nvPr userDrawn="1"/>
        </p:nvSpPr>
        <p:spPr>
          <a:xfrm>
            <a:off x="815815" y="2023794"/>
            <a:ext cx="3021398" cy="3124148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  <a:gd name="connsiteX0" fmla="*/ 2181497 w 5625737"/>
              <a:gd name="connsiteY0" fmla="*/ 6896100 h 6896100"/>
              <a:gd name="connsiteX1" fmla="*/ 0 w 5625737"/>
              <a:gd name="connsiteY1" fmla="*/ 4830192 h 6896100"/>
              <a:gd name="connsiteX2" fmla="*/ 482237 w 5625737"/>
              <a:gd name="connsiteY2" fmla="*/ 0 h 6896100"/>
              <a:gd name="connsiteX3" fmla="*/ 5625737 w 5625737"/>
              <a:gd name="connsiteY3" fmla="*/ 30480 h 6896100"/>
              <a:gd name="connsiteX4" fmla="*/ 3484517 w 5625737"/>
              <a:gd name="connsiteY4" fmla="*/ 6895465 h 6896100"/>
              <a:gd name="connsiteX5" fmla="*/ 2181497 w 5625737"/>
              <a:gd name="connsiteY5" fmla="*/ 6896100 h 6896100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3934218 w 6075438"/>
              <a:gd name="connsiteY4" fmla="*/ 6895465 h 7168259"/>
              <a:gd name="connsiteX5" fmla="*/ 44753 w 6075438"/>
              <a:gd name="connsiteY5" fmla="*/ 7168259 h 7168259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1341241 w 6075438"/>
              <a:gd name="connsiteY4" fmla="*/ 7159120 h 7168259"/>
              <a:gd name="connsiteX5" fmla="*/ 44753 w 6075438"/>
              <a:gd name="connsiteY5" fmla="*/ 7168259 h 7168259"/>
              <a:gd name="connsiteX0" fmla="*/ 497478 w 6528163"/>
              <a:gd name="connsiteY0" fmla="*/ 7137779 h 7137779"/>
              <a:gd name="connsiteX1" fmla="*/ 902426 w 6528163"/>
              <a:gd name="connsiteY1" fmla="*/ 4799712 h 7137779"/>
              <a:gd name="connsiteX2" fmla="*/ 0 w 6528163"/>
              <a:gd name="connsiteY2" fmla="*/ 1194232 h 7137779"/>
              <a:gd name="connsiteX3" fmla="*/ 6528163 w 6528163"/>
              <a:gd name="connsiteY3" fmla="*/ 0 h 7137779"/>
              <a:gd name="connsiteX4" fmla="*/ 1793966 w 6528163"/>
              <a:gd name="connsiteY4" fmla="*/ 7128640 h 7137779"/>
              <a:gd name="connsiteX5" fmla="*/ 497478 w 6528163"/>
              <a:gd name="connsiteY5" fmla="*/ 7137779 h 7137779"/>
              <a:gd name="connsiteX0" fmla="*/ 44754 w 6075439"/>
              <a:gd name="connsiteY0" fmla="*/ 7137779 h 7137779"/>
              <a:gd name="connsiteX1" fmla="*/ 449702 w 6075439"/>
              <a:gd name="connsiteY1" fmla="*/ 4799712 h 7137779"/>
              <a:gd name="connsiteX2" fmla="*/ 2166378 w 6075439"/>
              <a:gd name="connsiteY2" fmla="*/ 275697 h 7137779"/>
              <a:gd name="connsiteX3" fmla="*/ 6075439 w 6075439"/>
              <a:gd name="connsiteY3" fmla="*/ 0 h 7137779"/>
              <a:gd name="connsiteX4" fmla="*/ 1341242 w 6075439"/>
              <a:gd name="connsiteY4" fmla="*/ 7128640 h 7137779"/>
              <a:gd name="connsiteX5" fmla="*/ 44754 w 6075439"/>
              <a:gd name="connsiteY5" fmla="*/ 7137779 h 7137779"/>
              <a:gd name="connsiteX0" fmla="*/ 607424 w 6638109"/>
              <a:gd name="connsiteY0" fmla="*/ 7137779 h 7137779"/>
              <a:gd name="connsiteX1" fmla="*/ 0 w 6638109"/>
              <a:gd name="connsiteY1" fmla="*/ 1219127 h 7137779"/>
              <a:gd name="connsiteX2" fmla="*/ 2729048 w 6638109"/>
              <a:gd name="connsiteY2" fmla="*/ 275697 h 7137779"/>
              <a:gd name="connsiteX3" fmla="*/ 6638109 w 6638109"/>
              <a:gd name="connsiteY3" fmla="*/ 0 h 7137779"/>
              <a:gd name="connsiteX4" fmla="*/ 1903912 w 6638109"/>
              <a:gd name="connsiteY4" fmla="*/ 7128640 h 7137779"/>
              <a:gd name="connsiteX5" fmla="*/ 607424 w 6638109"/>
              <a:gd name="connsiteY5" fmla="*/ 7137779 h 7137779"/>
              <a:gd name="connsiteX0" fmla="*/ 607424 w 3862251"/>
              <a:gd name="connsiteY0" fmla="*/ 6862082 h 6862082"/>
              <a:gd name="connsiteX1" fmla="*/ 0 w 3862251"/>
              <a:gd name="connsiteY1" fmla="*/ 943430 h 6862082"/>
              <a:gd name="connsiteX2" fmla="*/ 2729048 w 3862251"/>
              <a:gd name="connsiteY2" fmla="*/ 0 h 6862082"/>
              <a:gd name="connsiteX3" fmla="*/ 3862251 w 3862251"/>
              <a:gd name="connsiteY3" fmla="*/ 523770 h 6862082"/>
              <a:gd name="connsiteX4" fmla="*/ 1903912 w 3862251"/>
              <a:gd name="connsiteY4" fmla="*/ 6852943 h 6862082"/>
              <a:gd name="connsiteX5" fmla="*/ 607424 w 3862251"/>
              <a:gd name="connsiteY5" fmla="*/ 6862082 h 6862082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694123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550274 w 3961856"/>
              <a:gd name="connsiteY0" fmla="*/ 6865619 h 6865619"/>
              <a:gd name="connsiteX1" fmla="*/ 0 w 3961856"/>
              <a:gd name="connsiteY1" fmla="*/ 1062729 h 6865619"/>
              <a:gd name="connsiteX2" fmla="*/ 2636973 w 3961856"/>
              <a:gd name="connsiteY2" fmla="*/ 3537 h 6865619"/>
              <a:gd name="connsiteX3" fmla="*/ 3961856 w 3961856"/>
              <a:gd name="connsiteY3" fmla="*/ 0 h 6865619"/>
              <a:gd name="connsiteX4" fmla="*/ 1846762 w 3961856"/>
              <a:gd name="connsiteY4" fmla="*/ 6856480 h 6865619"/>
              <a:gd name="connsiteX5" fmla="*/ 550274 w 3961856"/>
              <a:gd name="connsiteY5" fmla="*/ 6865619 h 6865619"/>
              <a:gd name="connsiteX0" fmla="*/ 616949 w 4028531"/>
              <a:gd name="connsiteY0" fmla="*/ 6865619 h 6865619"/>
              <a:gd name="connsiteX1" fmla="*/ 0 w 4028531"/>
              <a:gd name="connsiteY1" fmla="*/ 955236 h 6865619"/>
              <a:gd name="connsiteX2" fmla="*/ 2703648 w 4028531"/>
              <a:gd name="connsiteY2" fmla="*/ 3537 h 6865619"/>
              <a:gd name="connsiteX3" fmla="*/ 4028531 w 4028531"/>
              <a:gd name="connsiteY3" fmla="*/ 0 h 6865619"/>
              <a:gd name="connsiteX4" fmla="*/ 1913437 w 4028531"/>
              <a:gd name="connsiteY4" fmla="*/ 6856480 h 6865619"/>
              <a:gd name="connsiteX5" fmla="*/ 616949 w 4028531"/>
              <a:gd name="connsiteY5" fmla="*/ 6865619 h 686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531" h="6865619">
                <a:moveTo>
                  <a:pt x="616949" y="6865619"/>
                </a:moveTo>
                <a:lnTo>
                  <a:pt x="0" y="955236"/>
                </a:lnTo>
                <a:lnTo>
                  <a:pt x="2703648" y="3537"/>
                </a:lnTo>
                <a:lnTo>
                  <a:pt x="4028531" y="0"/>
                </a:lnTo>
                <a:lnTo>
                  <a:pt x="1913437" y="6856480"/>
                </a:lnTo>
                <a:lnTo>
                  <a:pt x="616949" y="6865619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451C1F37-4CC1-4448-B32A-A93A992D8028}"/>
              </a:ext>
            </a:extLst>
          </p:cNvPr>
          <p:cNvSpPr/>
          <p:nvPr userDrawn="1"/>
        </p:nvSpPr>
        <p:spPr>
          <a:xfrm>
            <a:off x="484959" y="4115229"/>
            <a:ext cx="2288620" cy="1028510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503170 w 3046730"/>
              <a:gd name="connsiteY2" fmla="*/ 1740535 h 1744980"/>
              <a:gd name="connsiteX3" fmla="*/ 0 w 3046730"/>
              <a:gd name="connsiteY3" fmla="*/ 1744980 h 17449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355532 w 3046730"/>
              <a:gd name="connsiteY2" fmla="*/ 1740535 h 1744980"/>
              <a:gd name="connsiteX3" fmla="*/ 0 w 3046730"/>
              <a:gd name="connsiteY3" fmla="*/ 1744980 h 1744980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355532 w 3051493"/>
              <a:gd name="connsiteY2" fmla="*/ 1735772 h 1740217"/>
              <a:gd name="connsiteX3" fmla="*/ 0 w 3051493"/>
              <a:gd name="connsiteY3" fmla="*/ 1740217 h 1740217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222182 w 3051493"/>
              <a:gd name="connsiteY2" fmla="*/ 1652429 h 1740217"/>
              <a:gd name="connsiteX3" fmla="*/ 0 w 3051493"/>
              <a:gd name="connsiteY3" fmla="*/ 1740217 h 1740217"/>
              <a:gd name="connsiteX0" fmla="*/ 0 w 3051493"/>
              <a:gd name="connsiteY0" fmla="*/ 1740217 h 1740535"/>
              <a:gd name="connsiteX1" fmla="*/ 3051493 w 3051493"/>
              <a:gd name="connsiteY1" fmla="*/ 0 h 1740535"/>
              <a:gd name="connsiteX2" fmla="*/ 2355532 w 3051493"/>
              <a:gd name="connsiteY2" fmla="*/ 1740535 h 1740535"/>
              <a:gd name="connsiteX3" fmla="*/ 0 w 3051493"/>
              <a:gd name="connsiteY3" fmla="*/ 1740217 h 1740535"/>
              <a:gd name="connsiteX0" fmla="*/ 0 w 3051493"/>
              <a:gd name="connsiteY0" fmla="*/ 1735455 h 1735773"/>
              <a:gd name="connsiteX1" fmla="*/ 3051493 w 3051493"/>
              <a:gd name="connsiteY1" fmla="*/ 0 h 1735773"/>
              <a:gd name="connsiteX2" fmla="*/ 2355532 w 3051493"/>
              <a:gd name="connsiteY2" fmla="*/ 1735773 h 1735773"/>
              <a:gd name="connsiteX3" fmla="*/ 0 w 3051493"/>
              <a:gd name="connsiteY3" fmla="*/ 1735455 h 1735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493" h="1735773">
                <a:moveTo>
                  <a:pt x="0" y="1735455"/>
                </a:moveTo>
                <a:lnTo>
                  <a:pt x="3051493" y="0"/>
                </a:lnTo>
                <a:lnTo>
                  <a:pt x="2355532" y="1735773"/>
                </a:lnTo>
                <a:lnTo>
                  <a:pt x="0" y="1735455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D3D02B1D-04DD-4C7C-B546-962E9A49A0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0178"/>
            <a:ext cx="3200640" cy="1351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72934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inen kansi">
    <p:bg>
      <p:bgPr>
        <a:solidFill>
          <a:srgbClr val="378D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686176" y="2208999"/>
            <a:ext cx="49022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3" name="Vapaamuotoinen: Muoto 12">
            <a:extLst>
              <a:ext uri="{FF2B5EF4-FFF2-40B4-BE49-F238E27FC236}">
                <a16:creationId xmlns:a16="http://schemas.microsoft.com/office/drawing/2014/main" id="{8D08D294-216F-442D-97F7-E95BB942B012}"/>
              </a:ext>
            </a:extLst>
          </p:cNvPr>
          <p:cNvSpPr/>
          <p:nvPr userDrawn="1"/>
        </p:nvSpPr>
        <p:spPr>
          <a:xfrm>
            <a:off x="0" y="-28575"/>
            <a:ext cx="3857625" cy="5172075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0" h="6896100">
                <a:moveTo>
                  <a:pt x="1699260" y="6896100"/>
                </a:moveTo>
                <a:lnTo>
                  <a:pt x="0" y="0"/>
                </a:lnTo>
                <a:lnTo>
                  <a:pt x="5143500" y="30480"/>
                </a:lnTo>
                <a:lnTo>
                  <a:pt x="3002280" y="6895465"/>
                </a:lnTo>
                <a:lnTo>
                  <a:pt x="1699260" y="68961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7BC346B6-D59F-4922-88E5-422A8B3E4AA0}"/>
              </a:ext>
            </a:extLst>
          </p:cNvPr>
          <p:cNvSpPr/>
          <p:nvPr userDrawn="1"/>
        </p:nvSpPr>
        <p:spPr>
          <a:xfrm>
            <a:off x="374332" y="3380898"/>
            <a:ext cx="2427923" cy="1765935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7230" h="2354580">
                <a:moveTo>
                  <a:pt x="0" y="2354580"/>
                </a:moveTo>
                <a:lnTo>
                  <a:pt x="3237230" y="0"/>
                </a:lnTo>
                <a:lnTo>
                  <a:pt x="2503170" y="2350135"/>
                </a:lnTo>
                <a:lnTo>
                  <a:pt x="0" y="2354580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1"/>
          </p:nvPr>
        </p:nvSpPr>
        <p:spPr>
          <a:xfrm>
            <a:off x="3686175" y="3962400"/>
            <a:ext cx="4902200" cy="43304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50" i="0">
                <a:solidFill>
                  <a:schemeClr val="bg1"/>
                </a:solidFill>
                <a:latin typeface="+mj-lt"/>
                <a:cs typeface="Georgi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8" name="Kuva 7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BE0FF67D-BE91-4D29-9979-E645453E5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807"/>
            <a:ext cx="3164682" cy="133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1026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5338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inen kansi kuva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apaamuotoinen: Muoto 3">
            <a:extLst>
              <a:ext uri="{FF2B5EF4-FFF2-40B4-BE49-F238E27FC236}">
                <a16:creationId xmlns:a16="http://schemas.microsoft.com/office/drawing/2014/main" id="{A9BAFD28-F1A4-4B74-A669-43891398B979}"/>
              </a:ext>
            </a:extLst>
          </p:cNvPr>
          <p:cNvSpPr/>
          <p:nvPr userDrawn="1"/>
        </p:nvSpPr>
        <p:spPr>
          <a:xfrm>
            <a:off x="0" y="-5715"/>
            <a:ext cx="3834765" cy="5149215"/>
          </a:xfrm>
          <a:custGeom>
            <a:avLst/>
            <a:gdLst>
              <a:gd name="connsiteX0" fmla="*/ 5113020 w 5113020"/>
              <a:gd name="connsiteY0" fmla="*/ 0 h 6880860"/>
              <a:gd name="connsiteX1" fmla="*/ 2979420 w 5113020"/>
              <a:gd name="connsiteY1" fmla="*/ 6880860 h 6880860"/>
              <a:gd name="connsiteX2" fmla="*/ 0 w 5113020"/>
              <a:gd name="connsiteY2" fmla="*/ 6865620 h 6880860"/>
              <a:gd name="connsiteX3" fmla="*/ 0 w 5113020"/>
              <a:gd name="connsiteY3" fmla="*/ 0 h 6880860"/>
              <a:gd name="connsiteX4" fmla="*/ 5113020 w 5113020"/>
              <a:gd name="connsiteY4" fmla="*/ 0 h 6880860"/>
              <a:gd name="connsiteX0" fmla="*/ 5113020 w 5113020"/>
              <a:gd name="connsiteY0" fmla="*/ 0 h 6865620"/>
              <a:gd name="connsiteX1" fmla="*/ 2998470 w 5113020"/>
              <a:gd name="connsiteY1" fmla="*/ 6864985 h 6865620"/>
              <a:gd name="connsiteX2" fmla="*/ 0 w 5113020"/>
              <a:gd name="connsiteY2" fmla="*/ 6865620 h 6865620"/>
              <a:gd name="connsiteX3" fmla="*/ 0 w 5113020"/>
              <a:gd name="connsiteY3" fmla="*/ 0 h 6865620"/>
              <a:gd name="connsiteX4" fmla="*/ 5113020 w 5113020"/>
              <a:gd name="connsiteY4" fmla="*/ 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13020" h="6865620">
                <a:moveTo>
                  <a:pt x="5113020" y="0"/>
                </a:moveTo>
                <a:lnTo>
                  <a:pt x="2998470" y="6864985"/>
                </a:lnTo>
                <a:lnTo>
                  <a:pt x="0" y="6865620"/>
                </a:lnTo>
                <a:lnTo>
                  <a:pt x="0" y="0"/>
                </a:lnTo>
                <a:lnTo>
                  <a:pt x="5113020" y="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686176" y="3183999"/>
            <a:ext cx="49022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3" name="Vapaamuotoinen: Muoto 12">
            <a:extLst>
              <a:ext uri="{FF2B5EF4-FFF2-40B4-BE49-F238E27FC236}">
                <a16:creationId xmlns:a16="http://schemas.microsoft.com/office/drawing/2014/main" id="{D120851B-61D6-4A60-9BF0-66474664A6B6}"/>
              </a:ext>
            </a:extLst>
          </p:cNvPr>
          <p:cNvSpPr/>
          <p:nvPr userDrawn="1"/>
        </p:nvSpPr>
        <p:spPr>
          <a:xfrm>
            <a:off x="0" y="-28575"/>
            <a:ext cx="3857625" cy="5172075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0" h="6896100">
                <a:moveTo>
                  <a:pt x="1699260" y="6896100"/>
                </a:moveTo>
                <a:lnTo>
                  <a:pt x="0" y="0"/>
                </a:lnTo>
                <a:lnTo>
                  <a:pt x="5143500" y="30480"/>
                </a:lnTo>
                <a:lnTo>
                  <a:pt x="3002280" y="6895465"/>
                </a:lnTo>
                <a:lnTo>
                  <a:pt x="1699260" y="68961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06E93023-C6AC-41E1-8879-6661246D8B0B}"/>
              </a:ext>
            </a:extLst>
          </p:cNvPr>
          <p:cNvSpPr/>
          <p:nvPr userDrawn="1"/>
        </p:nvSpPr>
        <p:spPr>
          <a:xfrm>
            <a:off x="374332" y="3380898"/>
            <a:ext cx="2427923" cy="1765935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7230" h="2354580">
                <a:moveTo>
                  <a:pt x="0" y="2354580"/>
                </a:moveTo>
                <a:lnTo>
                  <a:pt x="3237230" y="0"/>
                </a:lnTo>
                <a:lnTo>
                  <a:pt x="2503170" y="2350135"/>
                </a:lnTo>
                <a:lnTo>
                  <a:pt x="0" y="2354580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7" name="Kuva 6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352AA37C-A27A-436B-BD28-BA3EA59322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807"/>
            <a:ext cx="3164682" cy="133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39092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valkoisella yläosa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Vapaamuotoinen: Muoto 5">
            <a:extLst>
              <a:ext uri="{FF2B5EF4-FFF2-40B4-BE49-F238E27FC236}">
                <a16:creationId xmlns:a16="http://schemas.microsoft.com/office/drawing/2014/main" id="{029CD026-7F47-4F87-91D1-C3689AB46A9A}"/>
              </a:ext>
            </a:extLst>
          </p:cNvPr>
          <p:cNvSpPr/>
          <p:nvPr userDrawn="1"/>
        </p:nvSpPr>
        <p:spPr>
          <a:xfrm>
            <a:off x="0" y="1194435"/>
            <a:ext cx="9149715" cy="3954780"/>
          </a:xfrm>
          <a:custGeom>
            <a:avLst/>
            <a:gdLst>
              <a:gd name="connsiteX0" fmla="*/ 0 w 12199620"/>
              <a:gd name="connsiteY0" fmla="*/ 1028700 h 5273040"/>
              <a:gd name="connsiteX1" fmla="*/ 3794760 w 12199620"/>
              <a:gd name="connsiteY1" fmla="*/ 0 h 5273040"/>
              <a:gd name="connsiteX2" fmla="*/ 12199620 w 12199620"/>
              <a:gd name="connsiteY2" fmla="*/ 0 h 5273040"/>
              <a:gd name="connsiteX3" fmla="*/ 12192000 w 12199620"/>
              <a:gd name="connsiteY3" fmla="*/ 5257800 h 5273040"/>
              <a:gd name="connsiteX4" fmla="*/ 0 w 12199620"/>
              <a:gd name="connsiteY4" fmla="*/ 5273040 h 5273040"/>
              <a:gd name="connsiteX5" fmla="*/ 0 w 12199620"/>
              <a:gd name="connsiteY5" fmla="*/ 1028700 h 527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9620" h="5273040">
                <a:moveTo>
                  <a:pt x="0" y="1028700"/>
                </a:moveTo>
                <a:lnTo>
                  <a:pt x="3794760" y="0"/>
                </a:lnTo>
                <a:lnTo>
                  <a:pt x="12199620" y="0"/>
                </a:lnTo>
                <a:lnTo>
                  <a:pt x="12192000" y="5257800"/>
                </a:lnTo>
                <a:lnTo>
                  <a:pt x="0" y="5273040"/>
                </a:lnTo>
                <a:lnTo>
                  <a:pt x="0" y="102870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7" name="Vapaamuotoinen: Muoto 6">
            <a:extLst>
              <a:ext uri="{FF2B5EF4-FFF2-40B4-BE49-F238E27FC236}">
                <a16:creationId xmlns:a16="http://schemas.microsoft.com/office/drawing/2014/main" id="{E64FDC42-703A-4571-A80D-821190DDF7E1}"/>
              </a:ext>
            </a:extLst>
          </p:cNvPr>
          <p:cNvSpPr/>
          <p:nvPr userDrawn="1"/>
        </p:nvSpPr>
        <p:spPr>
          <a:xfrm>
            <a:off x="815815" y="1193573"/>
            <a:ext cx="3021398" cy="3954369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  <a:gd name="connsiteX0" fmla="*/ 2181497 w 5625737"/>
              <a:gd name="connsiteY0" fmla="*/ 6896100 h 6896100"/>
              <a:gd name="connsiteX1" fmla="*/ 0 w 5625737"/>
              <a:gd name="connsiteY1" fmla="*/ 4830192 h 6896100"/>
              <a:gd name="connsiteX2" fmla="*/ 482237 w 5625737"/>
              <a:gd name="connsiteY2" fmla="*/ 0 h 6896100"/>
              <a:gd name="connsiteX3" fmla="*/ 5625737 w 5625737"/>
              <a:gd name="connsiteY3" fmla="*/ 30480 h 6896100"/>
              <a:gd name="connsiteX4" fmla="*/ 3484517 w 5625737"/>
              <a:gd name="connsiteY4" fmla="*/ 6895465 h 6896100"/>
              <a:gd name="connsiteX5" fmla="*/ 2181497 w 5625737"/>
              <a:gd name="connsiteY5" fmla="*/ 6896100 h 6896100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3934218 w 6075438"/>
              <a:gd name="connsiteY4" fmla="*/ 6895465 h 7168259"/>
              <a:gd name="connsiteX5" fmla="*/ 44753 w 6075438"/>
              <a:gd name="connsiteY5" fmla="*/ 7168259 h 7168259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1341241 w 6075438"/>
              <a:gd name="connsiteY4" fmla="*/ 7159120 h 7168259"/>
              <a:gd name="connsiteX5" fmla="*/ 44753 w 6075438"/>
              <a:gd name="connsiteY5" fmla="*/ 7168259 h 7168259"/>
              <a:gd name="connsiteX0" fmla="*/ 497478 w 6528163"/>
              <a:gd name="connsiteY0" fmla="*/ 7137779 h 7137779"/>
              <a:gd name="connsiteX1" fmla="*/ 902426 w 6528163"/>
              <a:gd name="connsiteY1" fmla="*/ 4799712 h 7137779"/>
              <a:gd name="connsiteX2" fmla="*/ 0 w 6528163"/>
              <a:gd name="connsiteY2" fmla="*/ 1194232 h 7137779"/>
              <a:gd name="connsiteX3" fmla="*/ 6528163 w 6528163"/>
              <a:gd name="connsiteY3" fmla="*/ 0 h 7137779"/>
              <a:gd name="connsiteX4" fmla="*/ 1793966 w 6528163"/>
              <a:gd name="connsiteY4" fmla="*/ 7128640 h 7137779"/>
              <a:gd name="connsiteX5" fmla="*/ 497478 w 6528163"/>
              <a:gd name="connsiteY5" fmla="*/ 7137779 h 7137779"/>
              <a:gd name="connsiteX0" fmla="*/ 44754 w 6075439"/>
              <a:gd name="connsiteY0" fmla="*/ 7137779 h 7137779"/>
              <a:gd name="connsiteX1" fmla="*/ 449702 w 6075439"/>
              <a:gd name="connsiteY1" fmla="*/ 4799712 h 7137779"/>
              <a:gd name="connsiteX2" fmla="*/ 2166378 w 6075439"/>
              <a:gd name="connsiteY2" fmla="*/ 275697 h 7137779"/>
              <a:gd name="connsiteX3" fmla="*/ 6075439 w 6075439"/>
              <a:gd name="connsiteY3" fmla="*/ 0 h 7137779"/>
              <a:gd name="connsiteX4" fmla="*/ 1341242 w 6075439"/>
              <a:gd name="connsiteY4" fmla="*/ 7128640 h 7137779"/>
              <a:gd name="connsiteX5" fmla="*/ 44754 w 6075439"/>
              <a:gd name="connsiteY5" fmla="*/ 7137779 h 7137779"/>
              <a:gd name="connsiteX0" fmla="*/ 607424 w 6638109"/>
              <a:gd name="connsiteY0" fmla="*/ 7137779 h 7137779"/>
              <a:gd name="connsiteX1" fmla="*/ 0 w 6638109"/>
              <a:gd name="connsiteY1" fmla="*/ 1219127 h 7137779"/>
              <a:gd name="connsiteX2" fmla="*/ 2729048 w 6638109"/>
              <a:gd name="connsiteY2" fmla="*/ 275697 h 7137779"/>
              <a:gd name="connsiteX3" fmla="*/ 6638109 w 6638109"/>
              <a:gd name="connsiteY3" fmla="*/ 0 h 7137779"/>
              <a:gd name="connsiteX4" fmla="*/ 1903912 w 6638109"/>
              <a:gd name="connsiteY4" fmla="*/ 7128640 h 7137779"/>
              <a:gd name="connsiteX5" fmla="*/ 607424 w 6638109"/>
              <a:gd name="connsiteY5" fmla="*/ 7137779 h 7137779"/>
              <a:gd name="connsiteX0" fmla="*/ 607424 w 3862251"/>
              <a:gd name="connsiteY0" fmla="*/ 6862082 h 6862082"/>
              <a:gd name="connsiteX1" fmla="*/ 0 w 3862251"/>
              <a:gd name="connsiteY1" fmla="*/ 943430 h 6862082"/>
              <a:gd name="connsiteX2" fmla="*/ 2729048 w 3862251"/>
              <a:gd name="connsiteY2" fmla="*/ 0 h 6862082"/>
              <a:gd name="connsiteX3" fmla="*/ 3862251 w 3862251"/>
              <a:gd name="connsiteY3" fmla="*/ 523770 h 6862082"/>
              <a:gd name="connsiteX4" fmla="*/ 1903912 w 3862251"/>
              <a:gd name="connsiteY4" fmla="*/ 6852943 h 6862082"/>
              <a:gd name="connsiteX5" fmla="*/ 607424 w 3862251"/>
              <a:gd name="connsiteY5" fmla="*/ 6862082 h 6862082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694123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550274 w 3961856"/>
              <a:gd name="connsiteY0" fmla="*/ 6865619 h 6865619"/>
              <a:gd name="connsiteX1" fmla="*/ 0 w 3961856"/>
              <a:gd name="connsiteY1" fmla="*/ 1062729 h 6865619"/>
              <a:gd name="connsiteX2" fmla="*/ 2636973 w 3961856"/>
              <a:gd name="connsiteY2" fmla="*/ 3537 h 6865619"/>
              <a:gd name="connsiteX3" fmla="*/ 3961856 w 3961856"/>
              <a:gd name="connsiteY3" fmla="*/ 0 h 6865619"/>
              <a:gd name="connsiteX4" fmla="*/ 1846762 w 3961856"/>
              <a:gd name="connsiteY4" fmla="*/ 6856480 h 6865619"/>
              <a:gd name="connsiteX5" fmla="*/ 550274 w 3961856"/>
              <a:gd name="connsiteY5" fmla="*/ 6865619 h 6865619"/>
              <a:gd name="connsiteX0" fmla="*/ 616949 w 4028531"/>
              <a:gd name="connsiteY0" fmla="*/ 6865619 h 6865619"/>
              <a:gd name="connsiteX1" fmla="*/ 0 w 4028531"/>
              <a:gd name="connsiteY1" fmla="*/ 955236 h 6865619"/>
              <a:gd name="connsiteX2" fmla="*/ 2703648 w 4028531"/>
              <a:gd name="connsiteY2" fmla="*/ 3537 h 6865619"/>
              <a:gd name="connsiteX3" fmla="*/ 4028531 w 4028531"/>
              <a:gd name="connsiteY3" fmla="*/ 0 h 6865619"/>
              <a:gd name="connsiteX4" fmla="*/ 1913437 w 4028531"/>
              <a:gd name="connsiteY4" fmla="*/ 6856480 h 6865619"/>
              <a:gd name="connsiteX5" fmla="*/ 616949 w 4028531"/>
              <a:gd name="connsiteY5" fmla="*/ 6865619 h 686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531" h="6865619">
                <a:moveTo>
                  <a:pt x="616949" y="6865619"/>
                </a:moveTo>
                <a:lnTo>
                  <a:pt x="0" y="955236"/>
                </a:lnTo>
                <a:lnTo>
                  <a:pt x="2703648" y="3537"/>
                </a:lnTo>
                <a:lnTo>
                  <a:pt x="4028531" y="0"/>
                </a:lnTo>
                <a:lnTo>
                  <a:pt x="1913437" y="6856480"/>
                </a:lnTo>
                <a:lnTo>
                  <a:pt x="616949" y="6865619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8" name="Vapaamuotoinen: Muoto 7">
            <a:extLst>
              <a:ext uri="{FF2B5EF4-FFF2-40B4-BE49-F238E27FC236}">
                <a16:creationId xmlns:a16="http://schemas.microsoft.com/office/drawing/2014/main" id="{41B4A677-B136-4726-BB6A-E265255E727D}"/>
              </a:ext>
            </a:extLst>
          </p:cNvPr>
          <p:cNvSpPr/>
          <p:nvPr userDrawn="1"/>
        </p:nvSpPr>
        <p:spPr>
          <a:xfrm>
            <a:off x="484959" y="3841909"/>
            <a:ext cx="2288620" cy="1301830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503170 w 3046730"/>
              <a:gd name="connsiteY2" fmla="*/ 1740535 h 1744980"/>
              <a:gd name="connsiteX3" fmla="*/ 0 w 3046730"/>
              <a:gd name="connsiteY3" fmla="*/ 1744980 h 17449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355532 w 3046730"/>
              <a:gd name="connsiteY2" fmla="*/ 1740535 h 1744980"/>
              <a:gd name="connsiteX3" fmla="*/ 0 w 3046730"/>
              <a:gd name="connsiteY3" fmla="*/ 1744980 h 1744980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355532 w 3051493"/>
              <a:gd name="connsiteY2" fmla="*/ 1735772 h 1740217"/>
              <a:gd name="connsiteX3" fmla="*/ 0 w 3051493"/>
              <a:gd name="connsiteY3" fmla="*/ 1740217 h 1740217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222182 w 3051493"/>
              <a:gd name="connsiteY2" fmla="*/ 1652429 h 1740217"/>
              <a:gd name="connsiteX3" fmla="*/ 0 w 3051493"/>
              <a:gd name="connsiteY3" fmla="*/ 1740217 h 1740217"/>
              <a:gd name="connsiteX0" fmla="*/ 0 w 3051493"/>
              <a:gd name="connsiteY0" fmla="*/ 1740217 h 1740535"/>
              <a:gd name="connsiteX1" fmla="*/ 3051493 w 3051493"/>
              <a:gd name="connsiteY1" fmla="*/ 0 h 1740535"/>
              <a:gd name="connsiteX2" fmla="*/ 2355532 w 3051493"/>
              <a:gd name="connsiteY2" fmla="*/ 1740535 h 1740535"/>
              <a:gd name="connsiteX3" fmla="*/ 0 w 3051493"/>
              <a:gd name="connsiteY3" fmla="*/ 1740217 h 1740535"/>
              <a:gd name="connsiteX0" fmla="*/ 0 w 3051493"/>
              <a:gd name="connsiteY0" fmla="*/ 1735455 h 1735773"/>
              <a:gd name="connsiteX1" fmla="*/ 3051493 w 3051493"/>
              <a:gd name="connsiteY1" fmla="*/ 0 h 1735773"/>
              <a:gd name="connsiteX2" fmla="*/ 2355532 w 3051493"/>
              <a:gd name="connsiteY2" fmla="*/ 1735773 h 1735773"/>
              <a:gd name="connsiteX3" fmla="*/ 0 w 3051493"/>
              <a:gd name="connsiteY3" fmla="*/ 1735455 h 1735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493" h="1735773">
                <a:moveTo>
                  <a:pt x="0" y="1735455"/>
                </a:moveTo>
                <a:lnTo>
                  <a:pt x="3051493" y="0"/>
                </a:lnTo>
                <a:lnTo>
                  <a:pt x="2355532" y="1735773"/>
                </a:lnTo>
                <a:lnTo>
                  <a:pt x="0" y="1735455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212" y="334800"/>
            <a:ext cx="5312503" cy="85963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3300" b="1" spc="-150"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FC5FE70D-3DA0-4BC9-9C56-674645A147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0178"/>
            <a:ext cx="3200640" cy="1351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38192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kuvalla - nosto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orakulmio 5">
            <a:extLst>
              <a:ext uri="{FF2B5EF4-FFF2-40B4-BE49-F238E27FC236}">
                <a16:creationId xmlns:a16="http://schemas.microsoft.com/office/drawing/2014/main" id="{B56BCA98-83EF-4A2E-A53E-8397E5D02014}"/>
              </a:ext>
            </a:extLst>
          </p:cNvPr>
          <p:cNvSpPr/>
          <p:nvPr userDrawn="1"/>
        </p:nvSpPr>
        <p:spPr>
          <a:xfrm>
            <a:off x="2859087" y="3374231"/>
            <a:ext cx="5894389" cy="1407319"/>
          </a:xfrm>
          <a:prstGeom prst="rect">
            <a:avLst/>
          </a:prstGeom>
          <a:solidFill>
            <a:schemeClr val="accent1">
              <a:alpha val="5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8" name="Kuva 7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C6957A94-44EC-4D0A-BCF9-6A8ED91ADB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806919"/>
            <a:ext cx="3164682" cy="133658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01" y="3650637"/>
            <a:ext cx="3905250" cy="10451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3300" b="1" spc="-15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6106C9CE-B35D-4F9D-B580-F52D76DD900E}"/>
              </a:ext>
            </a:extLst>
          </p:cNvPr>
          <p:cNvSpPr txBox="1"/>
          <p:nvPr userDrawn="1"/>
        </p:nvSpPr>
        <p:spPr>
          <a:xfrm>
            <a:off x="2859087" y="2796390"/>
            <a:ext cx="1621631" cy="39703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25800" b="1">
                <a:solidFill>
                  <a:schemeClr val="bg1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2565008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kuvalla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5C5974A-92E5-447A-A74F-126A2265D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1" y="3650637"/>
            <a:ext cx="3905250" cy="10451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3300" b="1" spc="-15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5" name="Kuva 4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6FDC9581-5767-47D7-9631-3162D0AAAA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806919"/>
            <a:ext cx="3164682" cy="133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00675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kuvalla ja kuviolla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41339" y="1434200"/>
            <a:ext cx="801835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Vapaamuotoinen: Muoto 2">
            <a:extLst>
              <a:ext uri="{FF2B5EF4-FFF2-40B4-BE49-F238E27FC236}">
                <a16:creationId xmlns:a16="http://schemas.microsoft.com/office/drawing/2014/main" id="{965F3F81-83D2-4265-B857-439498CF5505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6" name="Vapaamuotoinen: Muoto 5">
            <a:extLst>
              <a:ext uri="{FF2B5EF4-FFF2-40B4-BE49-F238E27FC236}">
                <a16:creationId xmlns:a16="http://schemas.microsoft.com/office/drawing/2014/main" id="{BA2B021C-837B-46B0-83E2-272CBB5D4492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8" name="Kuva 7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A2ECC91C-0111-4396-93BA-5E4BA2AC7B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763" y="3806919"/>
            <a:ext cx="3164682" cy="133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68289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1339" y="285750"/>
            <a:ext cx="8047037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1339" y="1264258"/>
            <a:ext cx="8047037" cy="31881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222647" indent="-203597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1247" indent="-222647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75085" indent="-223838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20354" indent="-240506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D85A3-5928-4FA8-B074-1A44C471BF7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84DAD40F-FCFD-4252-8AF0-08763D520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30121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+ 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1339" y="285750"/>
            <a:ext cx="8047037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1339" y="1264258"/>
            <a:ext cx="8047037" cy="31881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222647" indent="-203597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1247" indent="-222647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75085" indent="-223838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20354" indent="-240506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D85A3-5928-4FA8-B074-1A44C471BF7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51D41A45-43E6-457A-B149-72ED8CECB2A7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26132C77-0126-449E-B529-19A28D325637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B913CE55-5991-4042-9ACB-D53DEDF9C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75066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- 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7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264257"/>
            <a:ext cx="39222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CC866E-17CE-4BA3-AC10-2F2207232F9F}" type="datetime1">
              <a:rPr lang="fi-FI" smtClean="0"/>
              <a:t>9.1.2023</a:t>
            </a:fld>
            <a:endParaRPr lang="fi-FI"/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476CE5F4-B564-4936-B222-788AFA79B5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12634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- tekstipalsta +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7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264257"/>
            <a:ext cx="39222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fi-FI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CC866E-17CE-4BA3-AC10-2F2207232F9F}" type="datetime1">
              <a:rPr lang="fi-FI" smtClean="0"/>
              <a:t>9.1.2023</a:t>
            </a:fld>
            <a:endParaRPr lang="fi-FI"/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2C1280ED-24FA-46DF-BF19-5052169D49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37150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- tekstipalsta + kuva + 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7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264257"/>
            <a:ext cx="39222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fi-FI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CC866E-17CE-4BA3-AC10-2F2207232F9F}" type="datetime1">
              <a:rPr lang="fi-FI" smtClean="0"/>
              <a:t>9.1.2023</a:t>
            </a:fld>
            <a:endParaRPr lang="fi-FI"/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3" name="Vapaamuotoinen: Muoto 12">
            <a:extLst>
              <a:ext uri="{FF2B5EF4-FFF2-40B4-BE49-F238E27FC236}">
                <a16:creationId xmlns:a16="http://schemas.microsoft.com/office/drawing/2014/main" id="{5C44CB59-1B4F-4084-940B-6183553AF038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5CBC45A6-3B94-43D3-981F-049DEF451E7F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21" name="Kuva 20">
            <a:extLst>
              <a:ext uri="{FF2B5EF4-FFF2-40B4-BE49-F238E27FC236}">
                <a16:creationId xmlns:a16="http://schemas.microsoft.com/office/drawing/2014/main" id="{31F30940-B7C9-4EAA-9191-EF3F7D9DA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6492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4289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195C47-C6ED-4B94-86A5-1E33528D2E24}" type="datetime1">
              <a:rPr lang="fi-FI" smtClean="0"/>
              <a:t>9.1.2023</a:t>
            </a:fld>
            <a:endParaRPr lang="fi-FI"/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C8E16D8C-C3D0-4DD9-928C-86DCE062D8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502259"/>
            <a:ext cx="1588541" cy="670910"/>
          </a:xfrm>
          <a:prstGeom prst="rect">
            <a:avLst/>
          </a:prstGeom>
        </p:spPr>
      </p:pic>
      <p:sp>
        <p:nvSpPr>
          <p:cNvPr id="16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3157387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+ 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5041648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195C47-C6ED-4B94-86A5-1E33528D2E24}" type="datetime1">
              <a:rPr lang="fi-FI" smtClean="0"/>
              <a:t>9.1.2023</a:t>
            </a:fld>
            <a:endParaRPr lang="fi-FI"/>
          </a:p>
        </p:txBody>
      </p:sp>
      <p:sp>
        <p:nvSpPr>
          <p:cNvPr id="16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8" name="Vapaamuotoinen: Muoto 7">
            <a:extLst>
              <a:ext uri="{FF2B5EF4-FFF2-40B4-BE49-F238E27FC236}">
                <a16:creationId xmlns:a16="http://schemas.microsoft.com/office/drawing/2014/main" id="{62C63C96-A267-47D3-B41B-9AD7D61B314A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E802B201-D2C6-49DC-B1F8-268CDC55FC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  <p:sp>
        <p:nvSpPr>
          <p:cNvPr id="9" name="Vapaamuotoinen: Muoto 8">
            <a:extLst>
              <a:ext uri="{FF2B5EF4-FFF2-40B4-BE49-F238E27FC236}">
                <a16:creationId xmlns:a16="http://schemas.microsoft.com/office/drawing/2014/main" id="{D2E8CE73-9BF6-4360-90C2-466273E512D7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</p:spTree>
    <p:extLst>
      <p:ext uri="{BB962C8B-B14F-4D97-AF65-F5344CB8AC3E}">
        <p14:creationId xmlns:p14="http://schemas.microsoft.com/office/powerpoint/2010/main" val="343967225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19F22D-1183-408D-8AA6-A22F3114EC0B}" type="datetime1">
              <a:rPr lang="fi-FI" smtClean="0"/>
              <a:t>9.1.2023</a:t>
            </a:fld>
            <a:endParaRPr lang="fi-FI"/>
          </a:p>
        </p:txBody>
      </p:sp>
      <p:sp>
        <p:nvSpPr>
          <p:cNvPr id="14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30D1F155-7840-4F33-8535-A4A48BD550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75155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081298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si valkoisella yläosa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apaamuotoinen: Muoto 6">
            <a:extLst>
              <a:ext uri="{FF2B5EF4-FFF2-40B4-BE49-F238E27FC236}">
                <a16:creationId xmlns:a16="http://schemas.microsoft.com/office/drawing/2014/main" id="{A8624717-6579-4108-8822-5868869BFBE2}"/>
              </a:ext>
            </a:extLst>
          </p:cNvPr>
          <p:cNvSpPr/>
          <p:nvPr userDrawn="1"/>
        </p:nvSpPr>
        <p:spPr>
          <a:xfrm>
            <a:off x="0" y="1194435"/>
            <a:ext cx="9149715" cy="3954780"/>
          </a:xfrm>
          <a:custGeom>
            <a:avLst/>
            <a:gdLst>
              <a:gd name="connsiteX0" fmla="*/ 0 w 12199620"/>
              <a:gd name="connsiteY0" fmla="*/ 1028700 h 5273040"/>
              <a:gd name="connsiteX1" fmla="*/ 3794760 w 12199620"/>
              <a:gd name="connsiteY1" fmla="*/ 0 h 5273040"/>
              <a:gd name="connsiteX2" fmla="*/ 12199620 w 12199620"/>
              <a:gd name="connsiteY2" fmla="*/ 0 h 5273040"/>
              <a:gd name="connsiteX3" fmla="*/ 12192000 w 12199620"/>
              <a:gd name="connsiteY3" fmla="*/ 5257800 h 5273040"/>
              <a:gd name="connsiteX4" fmla="*/ 0 w 12199620"/>
              <a:gd name="connsiteY4" fmla="*/ 5273040 h 5273040"/>
              <a:gd name="connsiteX5" fmla="*/ 0 w 12199620"/>
              <a:gd name="connsiteY5" fmla="*/ 1028700 h 527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9620" h="5273040">
                <a:moveTo>
                  <a:pt x="0" y="1028700"/>
                </a:moveTo>
                <a:lnTo>
                  <a:pt x="3794760" y="0"/>
                </a:lnTo>
                <a:lnTo>
                  <a:pt x="12199620" y="0"/>
                </a:lnTo>
                <a:lnTo>
                  <a:pt x="12192000" y="5257800"/>
                </a:lnTo>
                <a:lnTo>
                  <a:pt x="0" y="5273040"/>
                </a:lnTo>
                <a:lnTo>
                  <a:pt x="0" y="102870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830683" y="2208999"/>
            <a:ext cx="50761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-113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1"/>
          </p:nvPr>
        </p:nvSpPr>
        <p:spPr>
          <a:xfrm>
            <a:off x="3830682" y="3997392"/>
            <a:ext cx="5076100" cy="5484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50" i="0">
                <a:solidFill>
                  <a:schemeClr val="bg1"/>
                </a:solidFill>
                <a:latin typeface="+mj-lt"/>
                <a:cs typeface="Georgi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E59EEDD-EC4E-4BE9-B0CF-307A8AF9BA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8292"/>
            <a:ext cx="2912882" cy="1322099"/>
          </a:xfrm>
          <a:prstGeom prst="rect">
            <a:avLst/>
          </a:prstGeom>
        </p:spPr>
      </p:pic>
      <p:sp>
        <p:nvSpPr>
          <p:cNvPr id="10" name="Vapaamuotoinen: Muoto 9">
            <a:extLst>
              <a:ext uri="{FF2B5EF4-FFF2-40B4-BE49-F238E27FC236}">
                <a16:creationId xmlns:a16="http://schemas.microsoft.com/office/drawing/2014/main" id="{3902340E-5017-42B8-BD74-15ACF0A672AD}"/>
              </a:ext>
            </a:extLst>
          </p:cNvPr>
          <p:cNvSpPr/>
          <p:nvPr userDrawn="1"/>
        </p:nvSpPr>
        <p:spPr>
          <a:xfrm>
            <a:off x="815815" y="1193573"/>
            <a:ext cx="3021398" cy="3954369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  <a:gd name="connsiteX0" fmla="*/ 2181497 w 5625737"/>
              <a:gd name="connsiteY0" fmla="*/ 6896100 h 6896100"/>
              <a:gd name="connsiteX1" fmla="*/ 0 w 5625737"/>
              <a:gd name="connsiteY1" fmla="*/ 4830192 h 6896100"/>
              <a:gd name="connsiteX2" fmla="*/ 482237 w 5625737"/>
              <a:gd name="connsiteY2" fmla="*/ 0 h 6896100"/>
              <a:gd name="connsiteX3" fmla="*/ 5625737 w 5625737"/>
              <a:gd name="connsiteY3" fmla="*/ 30480 h 6896100"/>
              <a:gd name="connsiteX4" fmla="*/ 3484517 w 5625737"/>
              <a:gd name="connsiteY4" fmla="*/ 6895465 h 6896100"/>
              <a:gd name="connsiteX5" fmla="*/ 2181497 w 5625737"/>
              <a:gd name="connsiteY5" fmla="*/ 6896100 h 6896100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3934218 w 6075438"/>
              <a:gd name="connsiteY4" fmla="*/ 6895465 h 7168259"/>
              <a:gd name="connsiteX5" fmla="*/ 44753 w 6075438"/>
              <a:gd name="connsiteY5" fmla="*/ 7168259 h 7168259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1341241 w 6075438"/>
              <a:gd name="connsiteY4" fmla="*/ 7159120 h 7168259"/>
              <a:gd name="connsiteX5" fmla="*/ 44753 w 6075438"/>
              <a:gd name="connsiteY5" fmla="*/ 7168259 h 7168259"/>
              <a:gd name="connsiteX0" fmla="*/ 497478 w 6528163"/>
              <a:gd name="connsiteY0" fmla="*/ 7137779 h 7137779"/>
              <a:gd name="connsiteX1" fmla="*/ 902426 w 6528163"/>
              <a:gd name="connsiteY1" fmla="*/ 4799712 h 7137779"/>
              <a:gd name="connsiteX2" fmla="*/ 0 w 6528163"/>
              <a:gd name="connsiteY2" fmla="*/ 1194232 h 7137779"/>
              <a:gd name="connsiteX3" fmla="*/ 6528163 w 6528163"/>
              <a:gd name="connsiteY3" fmla="*/ 0 h 7137779"/>
              <a:gd name="connsiteX4" fmla="*/ 1793966 w 6528163"/>
              <a:gd name="connsiteY4" fmla="*/ 7128640 h 7137779"/>
              <a:gd name="connsiteX5" fmla="*/ 497478 w 6528163"/>
              <a:gd name="connsiteY5" fmla="*/ 7137779 h 7137779"/>
              <a:gd name="connsiteX0" fmla="*/ 44754 w 6075439"/>
              <a:gd name="connsiteY0" fmla="*/ 7137779 h 7137779"/>
              <a:gd name="connsiteX1" fmla="*/ 449702 w 6075439"/>
              <a:gd name="connsiteY1" fmla="*/ 4799712 h 7137779"/>
              <a:gd name="connsiteX2" fmla="*/ 2166378 w 6075439"/>
              <a:gd name="connsiteY2" fmla="*/ 275697 h 7137779"/>
              <a:gd name="connsiteX3" fmla="*/ 6075439 w 6075439"/>
              <a:gd name="connsiteY3" fmla="*/ 0 h 7137779"/>
              <a:gd name="connsiteX4" fmla="*/ 1341242 w 6075439"/>
              <a:gd name="connsiteY4" fmla="*/ 7128640 h 7137779"/>
              <a:gd name="connsiteX5" fmla="*/ 44754 w 6075439"/>
              <a:gd name="connsiteY5" fmla="*/ 7137779 h 7137779"/>
              <a:gd name="connsiteX0" fmla="*/ 607424 w 6638109"/>
              <a:gd name="connsiteY0" fmla="*/ 7137779 h 7137779"/>
              <a:gd name="connsiteX1" fmla="*/ 0 w 6638109"/>
              <a:gd name="connsiteY1" fmla="*/ 1219127 h 7137779"/>
              <a:gd name="connsiteX2" fmla="*/ 2729048 w 6638109"/>
              <a:gd name="connsiteY2" fmla="*/ 275697 h 7137779"/>
              <a:gd name="connsiteX3" fmla="*/ 6638109 w 6638109"/>
              <a:gd name="connsiteY3" fmla="*/ 0 h 7137779"/>
              <a:gd name="connsiteX4" fmla="*/ 1903912 w 6638109"/>
              <a:gd name="connsiteY4" fmla="*/ 7128640 h 7137779"/>
              <a:gd name="connsiteX5" fmla="*/ 607424 w 6638109"/>
              <a:gd name="connsiteY5" fmla="*/ 7137779 h 7137779"/>
              <a:gd name="connsiteX0" fmla="*/ 607424 w 3862251"/>
              <a:gd name="connsiteY0" fmla="*/ 6862082 h 6862082"/>
              <a:gd name="connsiteX1" fmla="*/ 0 w 3862251"/>
              <a:gd name="connsiteY1" fmla="*/ 943430 h 6862082"/>
              <a:gd name="connsiteX2" fmla="*/ 2729048 w 3862251"/>
              <a:gd name="connsiteY2" fmla="*/ 0 h 6862082"/>
              <a:gd name="connsiteX3" fmla="*/ 3862251 w 3862251"/>
              <a:gd name="connsiteY3" fmla="*/ 523770 h 6862082"/>
              <a:gd name="connsiteX4" fmla="*/ 1903912 w 3862251"/>
              <a:gd name="connsiteY4" fmla="*/ 6852943 h 6862082"/>
              <a:gd name="connsiteX5" fmla="*/ 607424 w 3862251"/>
              <a:gd name="connsiteY5" fmla="*/ 6862082 h 6862082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694123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550274 w 3961856"/>
              <a:gd name="connsiteY0" fmla="*/ 6865619 h 6865619"/>
              <a:gd name="connsiteX1" fmla="*/ 0 w 3961856"/>
              <a:gd name="connsiteY1" fmla="*/ 1062729 h 6865619"/>
              <a:gd name="connsiteX2" fmla="*/ 2636973 w 3961856"/>
              <a:gd name="connsiteY2" fmla="*/ 3537 h 6865619"/>
              <a:gd name="connsiteX3" fmla="*/ 3961856 w 3961856"/>
              <a:gd name="connsiteY3" fmla="*/ 0 h 6865619"/>
              <a:gd name="connsiteX4" fmla="*/ 1846762 w 3961856"/>
              <a:gd name="connsiteY4" fmla="*/ 6856480 h 6865619"/>
              <a:gd name="connsiteX5" fmla="*/ 550274 w 3961856"/>
              <a:gd name="connsiteY5" fmla="*/ 6865619 h 6865619"/>
              <a:gd name="connsiteX0" fmla="*/ 616949 w 4028531"/>
              <a:gd name="connsiteY0" fmla="*/ 6865619 h 6865619"/>
              <a:gd name="connsiteX1" fmla="*/ 0 w 4028531"/>
              <a:gd name="connsiteY1" fmla="*/ 955236 h 6865619"/>
              <a:gd name="connsiteX2" fmla="*/ 2703648 w 4028531"/>
              <a:gd name="connsiteY2" fmla="*/ 3537 h 6865619"/>
              <a:gd name="connsiteX3" fmla="*/ 4028531 w 4028531"/>
              <a:gd name="connsiteY3" fmla="*/ 0 h 6865619"/>
              <a:gd name="connsiteX4" fmla="*/ 1913437 w 4028531"/>
              <a:gd name="connsiteY4" fmla="*/ 6856480 h 6865619"/>
              <a:gd name="connsiteX5" fmla="*/ 616949 w 4028531"/>
              <a:gd name="connsiteY5" fmla="*/ 6865619 h 686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531" h="6865619">
                <a:moveTo>
                  <a:pt x="616949" y="6865619"/>
                </a:moveTo>
                <a:lnTo>
                  <a:pt x="0" y="955236"/>
                </a:lnTo>
                <a:lnTo>
                  <a:pt x="2703648" y="3537"/>
                </a:lnTo>
                <a:lnTo>
                  <a:pt x="4028531" y="0"/>
                </a:lnTo>
                <a:lnTo>
                  <a:pt x="1913437" y="6856480"/>
                </a:lnTo>
                <a:lnTo>
                  <a:pt x="616949" y="6865619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451C1F37-4CC1-4448-B32A-A93A992D8028}"/>
              </a:ext>
            </a:extLst>
          </p:cNvPr>
          <p:cNvSpPr/>
          <p:nvPr userDrawn="1"/>
        </p:nvSpPr>
        <p:spPr>
          <a:xfrm>
            <a:off x="484959" y="3841909"/>
            <a:ext cx="2288620" cy="1301830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503170 w 3046730"/>
              <a:gd name="connsiteY2" fmla="*/ 1740535 h 1744980"/>
              <a:gd name="connsiteX3" fmla="*/ 0 w 3046730"/>
              <a:gd name="connsiteY3" fmla="*/ 1744980 h 17449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355532 w 3046730"/>
              <a:gd name="connsiteY2" fmla="*/ 1740535 h 1744980"/>
              <a:gd name="connsiteX3" fmla="*/ 0 w 3046730"/>
              <a:gd name="connsiteY3" fmla="*/ 1744980 h 1744980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355532 w 3051493"/>
              <a:gd name="connsiteY2" fmla="*/ 1735772 h 1740217"/>
              <a:gd name="connsiteX3" fmla="*/ 0 w 3051493"/>
              <a:gd name="connsiteY3" fmla="*/ 1740217 h 1740217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222182 w 3051493"/>
              <a:gd name="connsiteY2" fmla="*/ 1652429 h 1740217"/>
              <a:gd name="connsiteX3" fmla="*/ 0 w 3051493"/>
              <a:gd name="connsiteY3" fmla="*/ 1740217 h 1740217"/>
              <a:gd name="connsiteX0" fmla="*/ 0 w 3051493"/>
              <a:gd name="connsiteY0" fmla="*/ 1740217 h 1740535"/>
              <a:gd name="connsiteX1" fmla="*/ 3051493 w 3051493"/>
              <a:gd name="connsiteY1" fmla="*/ 0 h 1740535"/>
              <a:gd name="connsiteX2" fmla="*/ 2355532 w 3051493"/>
              <a:gd name="connsiteY2" fmla="*/ 1740535 h 1740535"/>
              <a:gd name="connsiteX3" fmla="*/ 0 w 3051493"/>
              <a:gd name="connsiteY3" fmla="*/ 1740217 h 1740535"/>
              <a:gd name="connsiteX0" fmla="*/ 0 w 3051493"/>
              <a:gd name="connsiteY0" fmla="*/ 1735455 h 1735773"/>
              <a:gd name="connsiteX1" fmla="*/ 3051493 w 3051493"/>
              <a:gd name="connsiteY1" fmla="*/ 0 h 1735773"/>
              <a:gd name="connsiteX2" fmla="*/ 2355532 w 3051493"/>
              <a:gd name="connsiteY2" fmla="*/ 1735773 h 1735773"/>
              <a:gd name="connsiteX3" fmla="*/ 0 w 3051493"/>
              <a:gd name="connsiteY3" fmla="*/ 1735455 h 1735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493" h="1735773">
                <a:moveTo>
                  <a:pt x="0" y="1735455"/>
                </a:moveTo>
                <a:lnTo>
                  <a:pt x="3051493" y="0"/>
                </a:lnTo>
                <a:lnTo>
                  <a:pt x="2355532" y="1735773"/>
                </a:lnTo>
                <a:lnTo>
                  <a:pt x="0" y="1735455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</p:spTree>
    <p:extLst>
      <p:ext uri="{BB962C8B-B14F-4D97-AF65-F5344CB8AC3E}">
        <p14:creationId xmlns:p14="http://schemas.microsoft.com/office/powerpoint/2010/main" val="313142434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llinen kansi sinisellä tekstill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apaamuotoinen: Muoto 6">
            <a:extLst>
              <a:ext uri="{FF2B5EF4-FFF2-40B4-BE49-F238E27FC236}">
                <a16:creationId xmlns:a16="http://schemas.microsoft.com/office/drawing/2014/main" id="{A8624717-6579-4108-8822-5868869BFBE2}"/>
              </a:ext>
            </a:extLst>
          </p:cNvPr>
          <p:cNvSpPr/>
          <p:nvPr userDrawn="1"/>
        </p:nvSpPr>
        <p:spPr>
          <a:xfrm>
            <a:off x="0" y="2024743"/>
            <a:ext cx="9149715" cy="3124472"/>
          </a:xfrm>
          <a:custGeom>
            <a:avLst/>
            <a:gdLst>
              <a:gd name="connsiteX0" fmla="*/ 0 w 12199620"/>
              <a:gd name="connsiteY0" fmla="*/ 1028700 h 5273040"/>
              <a:gd name="connsiteX1" fmla="*/ 3794760 w 12199620"/>
              <a:gd name="connsiteY1" fmla="*/ 0 h 5273040"/>
              <a:gd name="connsiteX2" fmla="*/ 12199620 w 12199620"/>
              <a:gd name="connsiteY2" fmla="*/ 0 h 5273040"/>
              <a:gd name="connsiteX3" fmla="*/ 12192000 w 12199620"/>
              <a:gd name="connsiteY3" fmla="*/ 5257800 h 5273040"/>
              <a:gd name="connsiteX4" fmla="*/ 0 w 12199620"/>
              <a:gd name="connsiteY4" fmla="*/ 5273040 h 5273040"/>
              <a:gd name="connsiteX5" fmla="*/ 0 w 12199620"/>
              <a:gd name="connsiteY5" fmla="*/ 1028700 h 527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9620" h="5273040">
                <a:moveTo>
                  <a:pt x="0" y="1028700"/>
                </a:moveTo>
                <a:lnTo>
                  <a:pt x="3794760" y="0"/>
                </a:lnTo>
                <a:lnTo>
                  <a:pt x="12199620" y="0"/>
                </a:lnTo>
                <a:lnTo>
                  <a:pt x="12192000" y="5257800"/>
                </a:lnTo>
                <a:lnTo>
                  <a:pt x="0" y="5273040"/>
                </a:lnTo>
                <a:lnTo>
                  <a:pt x="0" y="102870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830683" y="303999"/>
            <a:ext cx="50761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-113"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1"/>
          </p:nvPr>
        </p:nvSpPr>
        <p:spPr>
          <a:xfrm>
            <a:off x="3830682" y="4545875"/>
            <a:ext cx="5076100" cy="5484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50" i="0">
                <a:solidFill>
                  <a:schemeClr val="bg1"/>
                </a:solidFill>
                <a:latin typeface="+mj-lt"/>
                <a:cs typeface="Georgi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E59EEDD-EC4E-4BE9-B0CF-307A8AF9BA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8292"/>
            <a:ext cx="2912882" cy="1322099"/>
          </a:xfrm>
          <a:prstGeom prst="rect">
            <a:avLst/>
          </a:prstGeom>
        </p:spPr>
      </p:pic>
      <p:sp>
        <p:nvSpPr>
          <p:cNvPr id="10" name="Vapaamuotoinen: Muoto 9">
            <a:extLst>
              <a:ext uri="{FF2B5EF4-FFF2-40B4-BE49-F238E27FC236}">
                <a16:creationId xmlns:a16="http://schemas.microsoft.com/office/drawing/2014/main" id="{3902340E-5017-42B8-BD74-15ACF0A672AD}"/>
              </a:ext>
            </a:extLst>
          </p:cNvPr>
          <p:cNvSpPr/>
          <p:nvPr userDrawn="1"/>
        </p:nvSpPr>
        <p:spPr>
          <a:xfrm>
            <a:off x="815815" y="2023794"/>
            <a:ext cx="3021398" cy="3124148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  <a:gd name="connsiteX0" fmla="*/ 2181497 w 5625737"/>
              <a:gd name="connsiteY0" fmla="*/ 6896100 h 6896100"/>
              <a:gd name="connsiteX1" fmla="*/ 0 w 5625737"/>
              <a:gd name="connsiteY1" fmla="*/ 4830192 h 6896100"/>
              <a:gd name="connsiteX2" fmla="*/ 482237 w 5625737"/>
              <a:gd name="connsiteY2" fmla="*/ 0 h 6896100"/>
              <a:gd name="connsiteX3" fmla="*/ 5625737 w 5625737"/>
              <a:gd name="connsiteY3" fmla="*/ 30480 h 6896100"/>
              <a:gd name="connsiteX4" fmla="*/ 3484517 w 5625737"/>
              <a:gd name="connsiteY4" fmla="*/ 6895465 h 6896100"/>
              <a:gd name="connsiteX5" fmla="*/ 2181497 w 5625737"/>
              <a:gd name="connsiteY5" fmla="*/ 6896100 h 6896100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3934218 w 6075438"/>
              <a:gd name="connsiteY4" fmla="*/ 6895465 h 7168259"/>
              <a:gd name="connsiteX5" fmla="*/ 44753 w 6075438"/>
              <a:gd name="connsiteY5" fmla="*/ 7168259 h 7168259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1341241 w 6075438"/>
              <a:gd name="connsiteY4" fmla="*/ 7159120 h 7168259"/>
              <a:gd name="connsiteX5" fmla="*/ 44753 w 6075438"/>
              <a:gd name="connsiteY5" fmla="*/ 7168259 h 7168259"/>
              <a:gd name="connsiteX0" fmla="*/ 497478 w 6528163"/>
              <a:gd name="connsiteY0" fmla="*/ 7137779 h 7137779"/>
              <a:gd name="connsiteX1" fmla="*/ 902426 w 6528163"/>
              <a:gd name="connsiteY1" fmla="*/ 4799712 h 7137779"/>
              <a:gd name="connsiteX2" fmla="*/ 0 w 6528163"/>
              <a:gd name="connsiteY2" fmla="*/ 1194232 h 7137779"/>
              <a:gd name="connsiteX3" fmla="*/ 6528163 w 6528163"/>
              <a:gd name="connsiteY3" fmla="*/ 0 h 7137779"/>
              <a:gd name="connsiteX4" fmla="*/ 1793966 w 6528163"/>
              <a:gd name="connsiteY4" fmla="*/ 7128640 h 7137779"/>
              <a:gd name="connsiteX5" fmla="*/ 497478 w 6528163"/>
              <a:gd name="connsiteY5" fmla="*/ 7137779 h 7137779"/>
              <a:gd name="connsiteX0" fmla="*/ 44754 w 6075439"/>
              <a:gd name="connsiteY0" fmla="*/ 7137779 h 7137779"/>
              <a:gd name="connsiteX1" fmla="*/ 449702 w 6075439"/>
              <a:gd name="connsiteY1" fmla="*/ 4799712 h 7137779"/>
              <a:gd name="connsiteX2" fmla="*/ 2166378 w 6075439"/>
              <a:gd name="connsiteY2" fmla="*/ 275697 h 7137779"/>
              <a:gd name="connsiteX3" fmla="*/ 6075439 w 6075439"/>
              <a:gd name="connsiteY3" fmla="*/ 0 h 7137779"/>
              <a:gd name="connsiteX4" fmla="*/ 1341242 w 6075439"/>
              <a:gd name="connsiteY4" fmla="*/ 7128640 h 7137779"/>
              <a:gd name="connsiteX5" fmla="*/ 44754 w 6075439"/>
              <a:gd name="connsiteY5" fmla="*/ 7137779 h 7137779"/>
              <a:gd name="connsiteX0" fmla="*/ 607424 w 6638109"/>
              <a:gd name="connsiteY0" fmla="*/ 7137779 h 7137779"/>
              <a:gd name="connsiteX1" fmla="*/ 0 w 6638109"/>
              <a:gd name="connsiteY1" fmla="*/ 1219127 h 7137779"/>
              <a:gd name="connsiteX2" fmla="*/ 2729048 w 6638109"/>
              <a:gd name="connsiteY2" fmla="*/ 275697 h 7137779"/>
              <a:gd name="connsiteX3" fmla="*/ 6638109 w 6638109"/>
              <a:gd name="connsiteY3" fmla="*/ 0 h 7137779"/>
              <a:gd name="connsiteX4" fmla="*/ 1903912 w 6638109"/>
              <a:gd name="connsiteY4" fmla="*/ 7128640 h 7137779"/>
              <a:gd name="connsiteX5" fmla="*/ 607424 w 6638109"/>
              <a:gd name="connsiteY5" fmla="*/ 7137779 h 7137779"/>
              <a:gd name="connsiteX0" fmla="*/ 607424 w 3862251"/>
              <a:gd name="connsiteY0" fmla="*/ 6862082 h 6862082"/>
              <a:gd name="connsiteX1" fmla="*/ 0 w 3862251"/>
              <a:gd name="connsiteY1" fmla="*/ 943430 h 6862082"/>
              <a:gd name="connsiteX2" fmla="*/ 2729048 w 3862251"/>
              <a:gd name="connsiteY2" fmla="*/ 0 h 6862082"/>
              <a:gd name="connsiteX3" fmla="*/ 3862251 w 3862251"/>
              <a:gd name="connsiteY3" fmla="*/ 523770 h 6862082"/>
              <a:gd name="connsiteX4" fmla="*/ 1903912 w 3862251"/>
              <a:gd name="connsiteY4" fmla="*/ 6852943 h 6862082"/>
              <a:gd name="connsiteX5" fmla="*/ 607424 w 3862251"/>
              <a:gd name="connsiteY5" fmla="*/ 6862082 h 6862082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694123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550274 w 3961856"/>
              <a:gd name="connsiteY0" fmla="*/ 6865619 h 6865619"/>
              <a:gd name="connsiteX1" fmla="*/ 0 w 3961856"/>
              <a:gd name="connsiteY1" fmla="*/ 1062729 h 6865619"/>
              <a:gd name="connsiteX2" fmla="*/ 2636973 w 3961856"/>
              <a:gd name="connsiteY2" fmla="*/ 3537 h 6865619"/>
              <a:gd name="connsiteX3" fmla="*/ 3961856 w 3961856"/>
              <a:gd name="connsiteY3" fmla="*/ 0 h 6865619"/>
              <a:gd name="connsiteX4" fmla="*/ 1846762 w 3961856"/>
              <a:gd name="connsiteY4" fmla="*/ 6856480 h 6865619"/>
              <a:gd name="connsiteX5" fmla="*/ 550274 w 3961856"/>
              <a:gd name="connsiteY5" fmla="*/ 6865619 h 6865619"/>
              <a:gd name="connsiteX0" fmla="*/ 616949 w 4028531"/>
              <a:gd name="connsiteY0" fmla="*/ 6865619 h 6865619"/>
              <a:gd name="connsiteX1" fmla="*/ 0 w 4028531"/>
              <a:gd name="connsiteY1" fmla="*/ 955236 h 6865619"/>
              <a:gd name="connsiteX2" fmla="*/ 2703648 w 4028531"/>
              <a:gd name="connsiteY2" fmla="*/ 3537 h 6865619"/>
              <a:gd name="connsiteX3" fmla="*/ 4028531 w 4028531"/>
              <a:gd name="connsiteY3" fmla="*/ 0 h 6865619"/>
              <a:gd name="connsiteX4" fmla="*/ 1913437 w 4028531"/>
              <a:gd name="connsiteY4" fmla="*/ 6856480 h 6865619"/>
              <a:gd name="connsiteX5" fmla="*/ 616949 w 4028531"/>
              <a:gd name="connsiteY5" fmla="*/ 6865619 h 686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531" h="6865619">
                <a:moveTo>
                  <a:pt x="616949" y="6865619"/>
                </a:moveTo>
                <a:lnTo>
                  <a:pt x="0" y="955236"/>
                </a:lnTo>
                <a:lnTo>
                  <a:pt x="2703648" y="3537"/>
                </a:lnTo>
                <a:lnTo>
                  <a:pt x="4028531" y="0"/>
                </a:lnTo>
                <a:lnTo>
                  <a:pt x="1913437" y="6856480"/>
                </a:lnTo>
                <a:lnTo>
                  <a:pt x="616949" y="6865619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451C1F37-4CC1-4448-B32A-A93A992D8028}"/>
              </a:ext>
            </a:extLst>
          </p:cNvPr>
          <p:cNvSpPr/>
          <p:nvPr userDrawn="1"/>
        </p:nvSpPr>
        <p:spPr>
          <a:xfrm>
            <a:off x="484959" y="4115229"/>
            <a:ext cx="2288620" cy="1028510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503170 w 3046730"/>
              <a:gd name="connsiteY2" fmla="*/ 1740535 h 1744980"/>
              <a:gd name="connsiteX3" fmla="*/ 0 w 3046730"/>
              <a:gd name="connsiteY3" fmla="*/ 1744980 h 17449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355532 w 3046730"/>
              <a:gd name="connsiteY2" fmla="*/ 1740535 h 1744980"/>
              <a:gd name="connsiteX3" fmla="*/ 0 w 3046730"/>
              <a:gd name="connsiteY3" fmla="*/ 1744980 h 1744980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355532 w 3051493"/>
              <a:gd name="connsiteY2" fmla="*/ 1735772 h 1740217"/>
              <a:gd name="connsiteX3" fmla="*/ 0 w 3051493"/>
              <a:gd name="connsiteY3" fmla="*/ 1740217 h 1740217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222182 w 3051493"/>
              <a:gd name="connsiteY2" fmla="*/ 1652429 h 1740217"/>
              <a:gd name="connsiteX3" fmla="*/ 0 w 3051493"/>
              <a:gd name="connsiteY3" fmla="*/ 1740217 h 1740217"/>
              <a:gd name="connsiteX0" fmla="*/ 0 w 3051493"/>
              <a:gd name="connsiteY0" fmla="*/ 1740217 h 1740535"/>
              <a:gd name="connsiteX1" fmla="*/ 3051493 w 3051493"/>
              <a:gd name="connsiteY1" fmla="*/ 0 h 1740535"/>
              <a:gd name="connsiteX2" fmla="*/ 2355532 w 3051493"/>
              <a:gd name="connsiteY2" fmla="*/ 1740535 h 1740535"/>
              <a:gd name="connsiteX3" fmla="*/ 0 w 3051493"/>
              <a:gd name="connsiteY3" fmla="*/ 1740217 h 1740535"/>
              <a:gd name="connsiteX0" fmla="*/ 0 w 3051493"/>
              <a:gd name="connsiteY0" fmla="*/ 1735455 h 1735773"/>
              <a:gd name="connsiteX1" fmla="*/ 3051493 w 3051493"/>
              <a:gd name="connsiteY1" fmla="*/ 0 h 1735773"/>
              <a:gd name="connsiteX2" fmla="*/ 2355532 w 3051493"/>
              <a:gd name="connsiteY2" fmla="*/ 1735773 h 1735773"/>
              <a:gd name="connsiteX3" fmla="*/ 0 w 3051493"/>
              <a:gd name="connsiteY3" fmla="*/ 1735455 h 1735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493" h="1735773">
                <a:moveTo>
                  <a:pt x="0" y="1735455"/>
                </a:moveTo>
                <a:lnTo>
                  <a:pt x="3051493" y="0"/>
                </a:lnTo>
                <a:lnTo>
                  <a:pt x="2355532" y="1735773"/>
                </a:lnTo>
                <a:lnTo>
                  <a:pt x="0" y="1735455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</p:spTree>
    <p:extLst>
      <p:ext uri="{BB962C8B-B14F-4D97-AF65-F5344CB8AC3E}">
        <p14:creationId xmlns:p14="http://schemas.microsoft.com/office/powerpoint/2010/main" val="98705043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inen kansi">
    <p:bg>
      <p:bgPr>
        <a:solidFill>
          <a:srgbClr val="378D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686176" y="2208999"/>
            <a:ext cx="49022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3" name="Vapaamuotoinen: Muoto 12">
            <a:extLst>
              <a:ext uri="{FF2B5EF4-FFF2-40B4-BE49-F238E27FC236}">
                <a16:creationId xmlns:a16="http://schemas.microsoft.com/office/drawing/2014/main" id="{8D08D294-216F-442D-97F7-E95BB942B012}"/>
              </a:ext>
            </a:extLst>
          </p:cNvPr>
          <p:cNvSpPr/>
          <p:nvPr userDrawn="1"/>
        </p:nvSpPr>
        <p:spPr>
          <a:xfrm>
            <a:off x="0" y="-28575"/>
            <a:ext cx="3857625" cy="5172075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0" h="6896100">
                <a:moveTo>
                  <a:pt x="1699260" y="6896100"/>
                </a:moveTo>
                <a:lnTo>
                  <a:pt x="0" y="0"/>
                </a:lnTo>
                <a:lnTo>
                  <a:pt x="5143500" y="30480"/>
                </a:lnTo>
                <a:lnTo>
                  <a:pt x="3002280" y="6895465"/>
                </a:lnTo>
                <a:lnTo>
                  <a:pt x="1699260" y="68961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7BC346B6-D59F-4922-88E5-422A8B3E4AA0}"/>
              </a:ext>
            </a:extLst>
          </p:cNvPr>
          <p:cNvSpPr/>
          <p:nvPr userDrawn="1"/>
        </p:nvSpPr>
        <p:spPr>
          <a:xfrm>
            <a:off x="374332" y="3380898"/>
            <a:ext cx="2427923" cy="1765935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7230" h="2354580">
                <a:moveTo>
                  <a:pt x="0" y="2354580"/>
                </a:moveTo>
                <a:lnTo>
                  <a:pt x="3237230" y="0"/>
                </a:lnTo>
                <a:lnTo>
                  <a:pt x="2503170" y="2350135"/>
                </a:lnTo>
                <a:lnTo>
                  <a:pt x="0" y="2354580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1"/>
          </p:nvPr>
        </p:nvSpPr>
        <p:spPr>
          <a:xfrm>
            <a:off x="3686175" y="3962400"/>
            <a:ext cx="4902200" cy="43304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50" i="0">
                <a:solidFill>
                  <a:schemeClr val="bg1"/>
                </a:solidFill>
                <a:latin typeface="+mj-lt"/>
                <a:cs typeface="Georgi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28DD16B1-C813-4162-9E56-887B1E2D62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9525"/>
            <a:ext cx="2912881" cy="1322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23205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inen kansi kuva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apaamuotoinen: Muoto 3">
            <a:extLst>
              <a:ext uri="{FF2B5EF4-FFF2-40B4-BE49-F238E27FC236}">
                <a16:creationId xmlns:a16="http://schemas.microsoft.com/office/drawing/2014/main" id="{A9BAFD28-F1A4-4B74-A669-43891398B979}"/>
              </a:ext>
            </a:extLst>
          </p:cNvPr>
          <p:cNvSpPr/>
          <p:nvPr userDrawn="1"/>
        </p:nvSpPr>
        <p:spPr>
          <a:xfrm>
            <a:off x="0" y="-5715"/>
            <a:ext cx="3834765" cy="5149215"/>
          </a:xfrm>
          <a:custGeom>
            <a:avLst/>
            <a:gdLst>
              <a:gd name="connsiteX0" fmla="*/ 5113020 w 5113020"/>
              <a:gd name="connsiteY0" fmla="*/ 0 h 6880860"/>
              <a:gd name="connsiteX1" fmla="*/ 2979420 w 5113020"/>
              <a:gd name="connsiteY1" fmla="*/ 6880860 h 6880860"/>
              <a:gd name="connsiteX2" fmla="*/ 0 w 5113020"/>
              <a:gd name="connsiteY2" fmla="*/ 6865620 h 6880860"/>
              <a:gd name="connsiteX3" fmla="*/ 0 w 5113020"/>
              <a:gd name="connsiteY3" fmla="*/ 0 h 6880860"/>
              <a:gd name="connsiteX4" fmla="*/ 5113020 w 5113020"/>
              <a:gd name="connsiteY4" fmla="*/ 0 h 6880860"/>
              <a:gd name="connsiteX0" fmla="*/ 5113020 w 5113020"/>
              <a:gd name="connsiteY0" fmla="*/ 0 h 6865620"/>
              <a:gd name="connsiteX1" fmla="*/ 2998470 w 5113020"/>
              <a:gd name="connsiteY1" fmla="*/ 6864985 h 6865620"/>
              <a:gd name="connsiteX2" fmla="*/ 0 w 5113020"/>
              <a:gd name="connsiteY2" fmla="*/ 6865620 h 6865620"/>
              <a:gd name="connsiteX3" fmla="*/ 0 w 5113020"/>
              <a:gd name="connsiteY3" fmla="*/ 0 h 6865620"/>
              <a:gd name="connsiteX4" fmla="*/ 5113020 w 5113020"/>
              <a:gd name="connsiteY4" fmla="*/ 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13020" h="6865620">
                <a:moveTo>
                  <a:pt x="5113020" y="0"/>
                </a:moveTo>
                <a:lnTo>
                  <a:pt x="2998470" y="6864985"/>
                </a:lnTo>
                <a:lnTo>
                  <a:pt x="0" y="6865620"/>
                </a:lnTo>
                <a:lnTo>
                  <a:pt x="0" y="0"/>
                </a:lnTo>
                <a:lnTo>
                  <a:pt x="5113020" y="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>
          <a:xfrm>
            <a:off x="3686176" y="3183999"/>
            <a:ext cx="4902200" cy="15924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4950" b="1" spc="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3" name="Vapaamuotoinen: Muoto 12">
            <a:extLst>
              <a:ext uri="{FF2B5EF4-FFF2-40B4-BE49-F238E27FC236}">
                <a16:creationId xmlns:a16="http://schemas.microsoft.com/office/drawing/2014/main" id="{D120851B-61D6-4A60-9BF0-66474664A6B6}"/>
              </a:ext>
            </a:extLst>
          </p:cNvPr>
          <p:cNvSpPr/>
          <p:nvPr userDrawn="1"/>
        </p:nvSpPr>
        <p:spPr>
          <a:xfrm>
            <a:off x="0" y="-28575"/>
            <a:ext cx="3857625" cy="5172075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0" h="6896100">
                <a:moveTo>
                  <a:pt x="1699260" y="6896100"/>
                </a:moveTo>
                <a:lnTo>
                  <a:pt x="0" y="0"/>
                </a:lnTo>
                <a:lnTo>
                  <a:pt x="5143500" y="30480"/>
                </a:lnTo>
                <a:lnTo>
                  <a:pt x="3002280" y="6895465"/>
                </a:lnTo>
                <a:lnTo>
                  <a:pt x="1699260" y="68961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06E93023-C6AC-41E1-8879-6661246D8B0B}"/>
              </a:ext>
            </a:extLst>
          </p:cNvPr>
          <p:cNvSpPr/>
          <p:nvPr userDrawn="1"/>
        </p:nvSpPr>
        <p:spPr>
          <a:xfrm>
            <a:off x="374332" y="3380898"/>
            <a:ext cx="2427923" cy="1765935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7230" h="2354580">
                <a:moveTo>
                  <a:pt x="0" y="2354580"/>
                </a:moveTo>
                <a:lnTo>
                  <a:pt x="3237230" y="0"/>
                </a:lnTo>
                <a:lnTo>
                  <a:pt x="2503170" y="2350135"/>
                </a:lnTo>
                <a:lnTo>
                  <a:pt x="0" y="2354580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28DD16B1-C813-4162-9E56-887B1E2D62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9525"/>
            <a:ext cx="2912881" cy="1322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57939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valkoisella yläosa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Vapaamuotoinen: Muoto 5">
            <a:extLst>
              <a:ext uri="{FF2B5EF4-FFF2-40B4-BE49-F238E27FC236}">
                <a16:creationId xmlns:a16="http://schemas.microsoft.com/office/drawing/2014/main" id="{029CD026-7F47-4F87-91D1-C3689AB46A9A}"/>
              </a:ext>
            </a:extLst>
          </p:cNvPr>
          <p:cNvSpPr/>
          <p:nvPr userDrawn="1"/>
        </p:nvSpPr>
        <p:spPr>
          <a:xfrm>
            <a:off x="0" y="1194435"/>
            <a:ext cx="9149715" cy="3954780"/>
          </a:xfrm>
          <a:custGeom>
            <a:avLst/>
            <a:gdLst>
              <a:gd name="connsiteX0" fmla="*/ 0 w 12199620"/>
              <a:gd name="connsiteY0" fmla="*/ 1028700 h 5273040"/>
              <a:gd name="connsiteX1" fmla="*/ 3794760 w 12199620"/>
              <a:gd name="connsiteY1" fmla="*/ 0 h 5273040"/>
              <a:gd name="connsiteX2" fmla="*/ 12199620 w 12199620"/>
              <a:gd name="connsiteY2" fmla="*/ 0 h 5273040"/>
              <a:gd name="connsiteX3" fmla="*/ 12192000 w 12199620"/>
              <a:gd name="connsiteY3" fmla="*/ 5257800 h 5273040"/>
              <a:gd name="connsiteX4" fmla="*/ 0 w 12199620"/>
              <a:gd name="connsiteY4" fmla="*/ 5273040 h 5273040"/>
              <a:gd name="connsiteX5" fmla="*/ 0 w 12199620"/>
              <a:gd name="connsiteY5" fmla="*/ 1028700 h 527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9620" h="5273040">
                <a:moveTo>
                  <a:pt x="0" y="1028700"/>
                </a:moveTo>
                <a:lnTo>
                  <a:pt x="3794760" y="0"/>
                </a:lnTo>
                <a:lnTo>
                  <a:pt x="12199620" y="0"/>
                </a:lnTo>
                <a:lnTo>
                  <a:pt x="12192000" y="5257800"/>
                </a:lnTo>
                <a:lnTo>
                  <a:pt x="0" y="5273040"/>
                </a:lnTo>
                <a:lnTo>
                  <a:pt x="0" y="1028700"/>
                </a:lnTo>
                <a:close/>
              </a:path>
            </a:pathLst>
          </a:custGeom>
          <a:solidFill>
            <a:srgbClr val="378D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7" name="Vapaamuotoinen: Muoto 6">
            <a:extLst>
              <a:ext uri="{FF2B5EF4-FFF2-40B4-BE49-F238E27FC236}">
                <a16:creationId xmlns:a16="http://schemas.microsoft.com/office/drawing/2014/main" id="{E64FDC42-703A-4571-A80D-821190DDF7E1}"/>
              </a:ext>
            </a:extLst>
          </p:cNvPr>
          <p:cNvSpPr/>
          <p:nvPr userDrawn="1"/>
        </p:nvSpPr>
        <p:spPr>
          <a:xfrm>
            <a:off x="815815" y="1193573"/>
            <a:ext cx="3021398" cy="3954369"/>
          </a:xfrm>
          <a:custGeom>
            <a:avLst/>
            <a:gdLst>
              <a:gd name="connsiteX0" fmla="*/ 1699260 w 5143500"/>
              <a:gd name="connsiteY0" fmla="*/ 6896100 h 6911340"/>
              <a:gd name="connsiteX1" fmla="*/ 0 w 5143500"/>
              <a:gd name="connsiteY1" fmla="*/ 0 h 6911340"/>
              <a:gd name="connsiteX2" fmla="*/ 5143500 w 5143500"/>
              <a:gd name="connsiteY2" fmla="*/ 30480 h 6911340"/>
              <a:gd name="connsiteX3" fmla="*/ 3002280 w 5143500"/>
              <a:gd name="connsiteY3" fmla="*/ 6911340 h 6911340"/>
              <a:gd name="connsiteX4" fmla="*/ 1699260 w 5143500"/>
              <a:gd name="connsiteY4" fmla="*/ 6896100 h 6911340"/>
              <a:gd name="connsiteX0" fmla="*/ 1699260 w 5143500"/>
              <a:gd name="connsiteY0" fmla="*/ 6896100 h 6896100"/>
              <a:gd name="connsiteX1" fmla="*/ 0 w 5143500"/>
              <a:gd name="connsiteY1" fmla="*/ 0 h 6896100"/>
              <a:gd name="connsiteX2" fmla="*/ 5143500 w 5143500"/>
              <a:gd name="connsiteY2" fmla="*/ 30480 h 6896100"/>
              <a:gd name="connsiteX3" fmla="*/ 3002280 w 5143500"/>
              <a:gd name="connsiteY3" fmla="*/ 6895465 h 6896100"/>
              <a:gd name="connsiteX4" fmla="*/ 1699260 w 5143500"/>
              <a:gd name="connsiteY4" fmla="*/ 6896100 h 6896100"/>
              <a:gd name="connsiteX0" fmla="*/ 2181497 w 5625737"/>
              <a:gd name="connsiteY0" fmla="*/ 6896100 h 6896100"/>
              <a:gd name="connsiteX1" fmla="*/ 0 w 5625737"/>
              <a:gd name="connsiteY1" fmla="*/ 4830192 h 6896100"/>
              <a:gd name="connsiteX2" fmla="*/ 482237 w 5625737"/>
              <a:gd name="connsiteY2" fmla="*/ 0 h 6896100"/>
              <a:gd name="connsiteX3" fmla="*/ 5625737 w 5625737"/>
              <a:gd name="connsiteY3" fmla="*/ 30480 h 6896100"/>
              <a:gd name="connsiteX4" fmla="*/ 3484517 w 5625737"/>
              <a:gd name="connsiteY4" fmla="*/ 6895465 h 6896100"/>
              <a:gd name="connsiteX5" fmla="*/ 2181497 w 5625737"/>
              <a:gd name="connsiteY5" fmla="*/ 6896100 h 6896100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3934218 w 6075438"/>
              <a:gd name="connsiteY4" fmla="*/ 6895465 h 7168259"/>
              <a:gd name="connsiteX5" fmla="*/ 44753 w 6075438"/>
              <a:gd name="connsiteY5" fmla="*/ 7168259 h 7168259"/>
              <a:gd name="connsiteX0" fmla="*/ 44753 w 6075438"/>
              <a:gd name="connsiteY0" fmla="*/ 7168259 h 7168259"/>
              <a:gd name="connsiteX1" fmla="*/ 449701 w 6075438"/>
              <a:gd name="connsiteY1" fmla="*/ 4830192 h 7168259"/>
              <a:gd name="connsiteX2" fmla="*/ 931938 w 6075438"/>
              <a:gd name="connsiteY2" fmla="*/ 0 h 7168259"/>
              <a:gd name="connsiteX3" fmla="*/ 6075438 w 6075438"/>
              <a:gd name="connsiteY3" fmla="*/ 30480 h 7168259"/>
              <a:gd name="connsiteX4" fmla="*/ 1341241 w 6075438"/>
              <a:gd name="connsiteY4" fmla="*/ 7159120 h 7168259"/>
              <a:gd name="connsiteX5" fmla="*/ 44753 w 6075438"/>
              <a:gd name="connsiteY5" fmla="*/ 7168259 h 7168259"/>
              <a:gd name="connsiteX0" fmla="*/ 497478 w 6528163"/>
              <a:gd name="connsiteY0" fmla="*/ 7137779 h 7137779"/>
              <a:gd name="connsiteX1" fmla="*/ 902426 w 6528163"/>
              <a:gd name="connsiteY1" fmla="*/ 4799712 h 7137779"/>
              <a:gd name="connsiteX2" fmla="*/ 0 w 6528163"/>
              <a:gd name="connsiteY2" fmla="*/ 1194232 h 7137779"/>
              <a:gd name="connsiteX3" fmla="*/ 6528163 w 6528163"/>
              <a:gd name="connsiteY3" fmla="*/ 0 h 7137779"/>
              <a:gd name="connsiteX4" fmla="*/ 1793966 w 6528163"/>
              <a:gd name="connsiteY4" fmla="*/ 7128640 h 7137779"/>
              <a:gd name="connsiteX5" fmla="*/ 497478 w 6528163"/>
              <a:gd name="connsiteY5" fmla="*/ 7137779 h 7137779"/>
              <a:gd name="connsiteX0" fmla="*/ 44754 w 6075439"/>
              <a:gd name="connsiteY0" fmla="*/ 7137779 h 7137779"/>
              <a:gd name="connsiteX1" fmla="*/ 449702 w 6075439"/>
              <a:gd name="connsiteY1" fmla="*/ 4799712 h 7137779"/>
              <a:gd name="connsiteX2" fmla="*/ 2166378 w 6075439"/>
              <a:gd name="connsiteY2" fmla="*/ 275697 h 7137779"/>
              <a:gd name="connsiteX3" fmla="*/ 6075439 w 6075439"/>
              <a:gd name="connsiteY3" fmla="*/ 0 h 7137779"/>
              <a:gd name="connsiteX4" fmla="*/ 1341242 w 6075439"/>
              <a:gd name="connsiteY4" fmla="*/ 7128640 h 7137779"/>
              <a:gd name="connsiteX5" fmla="*/ 44754 w 6075439"/>
              <a:gd name="connsiteY5" fmla="*/ 7137779 h 7137779"/>
              <a:gd name="connsiteX0" fmla="*/ 607424 w 6638109"/>
              <a:gd name="connsiteY0" fmla="*/ 7137779 h 7137779"/>
              <a:gd name="connsiteX1" fmla="*/ 0 w 6638109"/>
              <a:gd name="connsiteY1" fmla="*/ 1219127 h 7137779"/>
              <a:gd name="connsiteX2" fmla="*/ 2729048 w 6638109"/>
              <a:gd name="connsiteY2" fmla="*/ 275697 h 7137779"/>
              <a:gd name="connsiteX3" fmla="*/ 6638109 w 6638109"/>
              <a:gd name="connsiteY3" fmla="*/ 0 h 7137779"/>
              <a:gd name="connsiteX4" fmla="*/ 1903912 w 6638109"/>
              <a:gd name="connsiteY4" fmla="*/ 7128640 h 7137779"/>
              <a:gd name="connsiteX5" fmla="*/ 607424 w 6638109"/>
              <a:gd name="connsiteY5" fmla="*/ 7137779 h 7137779"/>
              <a:gd name="connsiteX0" fmla="*/ 607424 w 3862251"/>
              <a:gd name="connsiteY0" fmla="*/ 6862082 h 6862082"/>
              <a:gd name="connsiteX1" fmla="*/ 0 w 3862251"/>
              <a:gd name="connsiteY1" fmla="*/ 943430 h 6862082"/>
              <a:gd name="connsiteX2" fmla="*/ 2729048 w 3862251"/>
              <a:gd name="connsiteY2" fmla="*/ 0 h 6862082"/>
              <a:gd name="connsiteX3" fmla="*/ 3862251 w 3862251"/>
              <a:gd name="connsiteY3" fmla="*/ 523770 h 6862082"/>
              <a:gd name="connsiteX4" fmla="*/ 1903912 w 3862251"/>
              <a:gd name="connsiteY4" fmla="*/ 6852943 h 6862082"/>
              <a:gd name="connsiteX5" fmla="*/ 607424 w 3862251"/>
              <a:gd name="connsiteY5" fmla="*/ 6862082 h 6862082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729048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607424 w 4019006"/>
              <a:gd name="connsiteY0" fmla="*/ 6865619 h 6865619"/>
              <a:gd name="connsiteX1" fmla="*/ 0 w 4019006"/>
              <a:gd name="connsiteY1" fmla="*/ 946967 h 6865619"/>
              <a:gd name="connsiteX2" fmla="*/ 2694123 w 4019006"/>
              <a:gd name="connsiteY2" fmla="*/ 3537 h 6865619"/>
              <a:gd name="connsiteX3" fmla="*/ 4019006 w 4019006"/>
              <a:gd name="connsiteY3" fmla="*/ 0 h 6865619"/>
              <a:gd name="connsiteX4" fmla="*/ 1903912 w 4019006"/>
              <a:gd name="connsiteY4" fmla="*/ 6856480 h 6865619"/>
              <a:gd name="connsiteX5" fmla="*/ 607424 w 4019006"/>
              <a:gd name="connsiteY5" fmla="*/ 6865619 h 6865619"/>
              <a:gd name="connsiteX0" fmla="*/ 550274 w 3961856"/>
              <a:gd name="connsiteY0" fmla="*/ 6865619 h 6865619"/>
              <a:gd name="connsiteX1" fmla="*/ 0 w 3961856"/>
              <a:gd name="connsiteY1" fmla="*/ 1062729 h 6865619"/>
              <a:gd name="connsiteX2" fmla="*/ 2636973 w 3961856"/>
              <a:gd name="connsiteY2" fmla="*/ 3537 h 6865619"/>
              <a:gd name="connsiteX3" fmla="*/ 3961856 w 3961856"/>
              <a:gd name="connsiteY3" fmla="*/ 0 h 6865619"/>
              <a:gd name="connsiteX4" fmla="*/ 1846762 w 3961856"/>
              <a:gd name="connsiteY4" fmla="*/ 6856480 h 6865619"/>
              <a:gd name="connsiteX5" fmla="*/ 550274 w 3961856"/>
              <a:gd name="connsiteY5" fmla="*/ 6865619 h 6865619"/>
              <a:gd name="connsiteX0" fmla="*/ 616949 w 4028531"/>
              <a:gd name="connsiteY0" fmla="*/ 6865619 h 6865619"/>
              <a:gd name="connsiteX1" fmla="*/ 0 w 4028531"/>
              <a:gd name="connsiteY1" fmla="*/ 955236 h 6865619"/>
              <a:gd name="connsiteX2" fmla="*/ 2703648 w 4028531"/>
              <a:gd name="connsiteY2" fmla="*/ 3537 h 6865619"/>
              <a:gd name="connsiteX3" fmla="*/ 4028531 w 4028531"/>
              <a:gd name="connsiteY3" fmla="*/ 0 h 6865619"/>
              <a:gd name="connsiteX4" fmla="*/ 1913437 w 4028531"/>
              <a:gd name="connsiteY4" fmla="*/ 6856480 h 6865619"/>
              <a:gd name="connsiteX5" fmla="*/ 616949 w 4028531"/>
              <a:gd name="connsiteY5" fmla="*/ 6865619 h 686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531" h="6865619">
                <a:moveTo>
                  <a:pt x="616949" y="6865619"/>
                </a:moveTo>
                <a:lnTo>
                  <a:pt x="0" y="955236"/>
                </a:lnTo>
                <a:lnTo>
                  <a:pt x="2703648" y="3537"/>
                </a:lnTo>
                <a:lnTo>
                  <a:pt x="4028531" y="0"/>
                </a:lnTo>
                <a:lnTo>
                  <a:pt x="1913437" y="6856480"/>
                </a:lnTo>
                <a:lnTo>
                  <a:pt x="616949" y="6865619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8" name="Vapaamuotoinen: Muoto 7">
            <a:extLst>
              <a:ext uri="{FF2B5EF4-FFF2-40B4-BE49-F238E27FC236}">
                <a16:creationId xmlns:a16="http://schemas.microsoft.com/office/drawing/2014/main" id="{41B4A677-B136-4726-BB6A-E265255E727D}"/>
              </a:ext>
            </a:extLst>
          </p:cNvPr>
          <p:cNvSpPr/>
          <p:nvPr userDrawn="1"/>
        </p:nvSpPr>
        <p:spPr>
          <a:xfrm>
            <a:off x="484959" y="3841909"/>
            <a:ext cx="2288620" cy="1301830"/>
          </a:xfrm>
          <a:custGeom>
            <a:avLst/>
            <a:gdLst>
              <a:gd name="connsiteX0" fmla="*/ 0 w 3230880"/>
              <a:gd name="connsiteY0" fmla="*/ 2354580 h 2354580"/>
              <a:gd name="connsiteX1" fmla="*/ 3230880 w 3230880"/>
              <a:gd name="connsiteY1" fmla="*/ 0 h 2354580"/>
              <a:gd name="connsiteX2" fmla="*/ 2484120 w 3230880"/>
              <a:gd name="connsiteY2" fmla="*/ 2346960 h 2354580"/>
              <a:gd name="connsiteX3" fmla="*/ 0 w 3230880"/>
              <a:gd name="connsiteY3" fmla="*/ 2354580 h 2354580"/>
              <a:gd name="connsiteX0" fmla="*/ 0 w 3249930"/>
              <a:gd name="connsiteY0" fmla="*/ 2351405 h 2351405"/>
              <a:gd name="connsiteX1" fmla="*/ 3249930 w 3249930"/>
              <a:gd name="connsiteY1" fmla="*/ 0 h 2351405"/>
              <a:gd name="connsiteX2" fmla="*/ 2503170 w 3249930"/>
              <a:gd name="connsiteY2" fmla="*/ 2346960 h 2351405"/>
              <a:gd name="connsiteX3" fmla="*/ 0 w 3249930"/>
              <a:gd name="connsiteY3" fmla="*/ 2351405 h 2351405"/>
              <a:gd name="connsiteX0" fmla="*/ 0 w 3237230"/>
              <a:gd name="connsiteY0" fmla="*/ 2354580 h 2354580"/>
              <a:gd name="connsiteX1" fmla="*/ 3237230 w 3237230"/>
              <a:gd name="connsiteY1" fmla="*/ 0 h 2354580"/>
              <a:gd name="connsiteX2" fmla="*/ 2503170 w 3237230"/>
              <a:gd name="connsiteY2" fmla="*/ 2350135 h 2354580"/>
              <a:gd name="connsiteX3" fmla="*/ 0 w 3237230"/>
              <a:gd name="connsiteY3" fmla="*/ 2354580 h 23545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503170 w 3046730"/>
              <a:gd name="connsiteY2" fmla="*/ 1740535 h 1744980"/>
              <a:gd name="connsiteX3" fmla="*/ 0 w 3046730"/>
              <a:gd name="connsiteY3" fmla="*/ 1744980 h 1744980"/>
              <a:gd name="connsiteX0" fmla="*/ 0 w 3046730"/>
              <a:gd name="connsiteY0" fmla="*/ 1744980 h 1744980"/>
              <a:gd name="connsiteX1" fmla="*/ 3046730 w 3046730"/>
              <a:gd name="connsiteY1" fmla="*/ 0 h 1744980"/>
              <a:gd name="connsiteX2" fmla="*/ 2355532 w 3046730"/>
              <a:gd name="connsiteY2" fmla="*/ 1740535 h 1744980"/>
              <a:gd name="connsiteX3" fmla="*/ 0 w 3046730"/>
              <a:gd name="connsiteY3" fmla="*/ 1744980 h 1744980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355532 w 3051493"/>
              <a:gd name="connsiteY2" fmla="*/ 1735772 h 1740217"/>
              <a:gd name="connsiteX3" fmla="*/ 0 w 3051493"/>
              <a:gd name="connsiteY3" fmla="*/ 1740217 h 1740217"/>
              <a:gd name="connsiteX0" fmla="*/ 0 w 3051493"/>
              <a:gd name="connsiteY0" fmla="*/ 1740217 h 1740217"/>
              <a:gd name="connsiteX1" fmla="*/ 3051493 w 3051493"/>
              <a:gd name="connsiteY1" fmla="*/ 0 h 1740217"/>
              <a:gd name="connsiteX2" fmla="*/ 2222182 w 3051493"/>
              <a:gd name="connsiteY2" fmla="*/ 1652429 h 1740217"/>
              <a:gd name="connsiteX3" fmla="*/ 0 w 3051493"/>
              <a:gd name="connsiteY3" fmla="*/ 1740217 h 1740217"/>
              <a:gd name="connsiteX0" fmla="*/ 0 w 3051493"/>
              <a:gd name="connsiteY0" fmla="*/ 1740217 h 1740535"/>
              <a:gd name="connsiteX1" fmla="*/ 3051493 w 3051493"/>
              <a:gd name="connsiteY1" fmla="*/ 0 h 1740535"/>
              <a:gd name="connsiteX2" fmla="*/ 2355532 w 3051493"/>
              <a:gd name="connsiteY2" fmla="*/ 1740535 h 1740535"/>
              <a:gd name="connsiteX3" fmla="*/ 0 w 3051493"/>
              <a:gd name="connsiteY3" fmla="*/ 1740217 h 1740535"/>
              <a:gd name="connsiteX0" fmla="*/ 0 w 3051493"/>
              <a:gd name="connsiteY0" fmla="*/ 1735455 h 1735773"/>
              <a:gd name="connsiteX1" fmla="*/ 3051493 w 3051493"/>
              <a:gd name="connsiteY1" fmla="*/ 0 h 1735773"/>
              <a:gd name="connsiteX2" fmla="*/ 2355532 w 3051493"/>
              <a:gd name="connsiteY2" fmla="*/ 1735773 h 1735773"/>
              <a:gd name="connsiteX3" fmla="*/ 0 w 3051493"/>
              <a:gd name="connsiteY3" fmla="*/ 1735455 h 1735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493" h="1735773">
                <a:moveTo>
                  <a:pt x="0" y="1735455"/>
                </a:moveTo>
                <a:lnTo>
                  <a:pt x="3051493" y="0"/>
                </a:lnTo>
                <a:lnTo>
                  <a:pt x="2355532" y="1735773"/>
                </a:lnTo>
                <a:lnTo>
                  <a:pt x="0" y="1735455"/>
                </a:lnTo>
                <a:close/>
              </a:path>
            </a:pathLst>
          </a:custGeom>
          <a:solidFill>
            <a:srgbClr val="1366AA">
              <a:alpha val="6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212" y="334800"/>
            <a:ext cx="5312503" cy="85963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3300" b="1" spc="-150"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45B6EE55-8538-4484-AA72-6F4F69FCF4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8292"/>
            <a:ext cx="2912882" cy="1322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4372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kuvalla - nosto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orakulmio 5">
            <a:extLst>
              <a:ext uri="{FF2B5EF4-FFF2-40B4-BE49-F238E27FC236}">
                <a16:creationId xmlns:a16="http://schemas.microsoft.com/office/drawing/2014/main" id="{B56BCA98-83EF-4A2E-A53E-8397E5D02014}"/>
              </a:ext>
            </a:extLst>
          </p:cNvPr>
          <p:cNvSpPr/>
          <p:nvPr userDrawn="1"/>
        </p:nvSpPr>
        <p:spPr>
          <a:xfrm>
            <a:off x="2859087" y="3374231"/>
            <a:ext cx="5894389" cy="1407319"/>
          </a:xfrm>
          <a:prstGeom prst="rect">
            <a:avLst/>
          </a:prstGeom>
          <a:solidFill>
            <a:schemeClr val="accent1">
              <a:alpha val="5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01" y="3650637"/>
            <a:ext cx="3905250" cy="10451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3300" b="1" spc="-15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E12027B8-3ACC-4B99-A595-CEED283E7D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821401"/>
            <a:ext cx="2912881" cy="1322099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6106C9CE-B35D-4F9D-B580-F52D76DD900E}"/>
              </a:ext>
            </a:extLst>
          </p:cNvPr>
          <p:cNvSpPr txBox="1"/>
          <p:nvPr userDrawn="1"/>
        </p:nvSpPr>
        <p:spPr>
          <a:xfrm>
            <a:off x="2859087" y="2796390"/>
            <a:ext cx="1621631" cy="39703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25800" b="1">
                <a:solidFill>
                  <a:schemeClr val="bg1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276922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921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kuvalla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>
            <a:extLst>
              <a:ext uri="{FF2B5EF4-FFF2-40B4-BE49-F238E27FC236}">
                <a16:creationId xmlns:a16="http://schemas.microsoft.com/office/drawing/2014/main" id="{E12027B8-3ACC-4B99-A595-CEED283E7D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821401"/>
            <a:ext cx="2912881" cy="132209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C5974A-92E5-447A-A74F-126A2265D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1" y="3650637"/>
            <a:ext cx="3905250" cy="10451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3300" b="1" spc="-15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0407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 kuvalla ja kuviolla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41339" y="1434200"/>
            <a:ext cx="801835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4BDCF47E-3E49-4587-B526-04B917F4D0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821401"/>
            <a:ext cx="2912881" cy="1322099"/>
          </a:xfrm>
          <a:prstGeom prst="rect">
            <a:avLst/>
          </a:prstGeom>
        </p:spPr>
      </p:pic>
      <p:sp>
        <p:nvSpPr>
          <p:cNvPr id="3" name="Vapaamuotoinen: Muoto 2">
            <a:extLst>
              <a:ext uri="{FF2B5EF4-FFF2-40B4-BE49-F238E27FC236}">
                <a16:creationId xmlns:a16="http://schemas.microsoft.com/office/drawing/2014/main" id="{965F3F81-83D2-4265-B857-439498CF5505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6" name="Vapaamuotoinen: Muoto 5">
            <a:extLst>
              <a:ext uri="{FF2B5EF4-FFF2-40B4-BE49-F238E27FC236}">
                <a16:creationId xmlns:a16="http://schemas.microsoft.com/office/drawing/2014/main" id="{BA2B021C-837B-46B0-83E2-272CBB5D4492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</p:spTree>
    <p:extLst>
      <p:ext uri="{BB962C8B-B14F-4D97-AF65-F5344CB8AC3E}">
        <p14:creationId xmlns:p14="http://schemas.microsoft.com/office/powerpoint/2010/main" val="8664843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1339" y="285750"/>
            <a:ext cx="8047037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1339" y="1264258"/>
            <a:ext cx="8047037" cy="31881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222647" indent="-203597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1247" indent="-222647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75085" indent="-223838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20354" indent="-240506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D85A3-5928-4FA8-B074-1A44C471BF7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Kuva 12">
            <a:extLst>
              <a:ext uri="{FF2B5EF4-FFF2-40B4-BE49-F238E27FC236}">
                <a16:creationId xmlns:a16="http://schemas.microsoft.com/office/drawing/2014/main" id="{79031326-596C-4623-8157-C4FBFE2828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576" y="4534084"/>
            <a:ext cx="1337930" cy="60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01632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+ 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1339" y="285750"/>
            <a:ext cx="8047037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1339" y="1264258"/>
            <a:ext cx="8047037" cy="31881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222647" indent="-203597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1247" indent="-222647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75085" indent="-223838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20354" indent="-240506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D85A3-5928-4FA8-B074-1A44C471BF7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51D41A45-43E6-457A-B149-72ED8CECB2A7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26132C77-0126-449E-B529-19A28D325637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077C7240-6134-4644-92A8-13B11A0F6D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04738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- 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7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264257"/>
            <a:ext cx="39222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CC866E-17CE-4BA3-AC10-2F2207232F9F}" type="datetime1">
              <a:rPr lang="fi-FI" smtClean="0"/>
              <a:t>9.1.2023</a:t>
            </a:fld>
            <a:endParaRPr lang="fi-FI"/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7CE79ADE-CB24-4FBC-A6D9-E0B456EE3E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55343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- tekstipalsta +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7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264257"/>
            <a:ext cx="39222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fi-FI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CC866E-17CE-4BA3-AC10-2F2207232F9F}" type="datetime1">
              <a:rPr lang="fi-FI" smtClean="0"/>
              <a:t>9.1.2023</a:t>
            </a:fld>
            <a:endParaRPr lang="fi-FI"/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E8AAA3B8-DE28-4B68-A62A-432A1C21C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22646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- tekstipalsta + kuva + 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264257"/>
            <a:ext cx="39880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264257"/>
            <a:ext cx="392227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200" indent="-159300">
              <a:buClr>
                <a:srgbClr val="378DC4"/>
              </a:buClr>
              <a:buFont typeface="Arial" panose="020B0604020202020204" pitchFamily="34" charset="0"/>
              <a:buChar char="•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5600" indent="-172800">
              <a:buFont typeface="Arial" panose="020B0604020202020204" pitchFamily="34" charset="0"/>
              <a:buChar char="‒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4000" indent="-145800">
              <a:buFont typeface="Arial" panose="020B0604020202020204" pitchFamily="34" charset="0"/>
              <a:buChar char="‒"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5400" indent="-171450">
              <a:buFont typeface="Arial" panose="020B0604020202020204" pitchFamily="34" charset="0"/>
              <a:buChar char="‒"/>
              <a:defRPr sz="97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fi-FI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CC866E-17CE-4BA3-AC10-2F2207232F9F}" type="datetime1">
              <a:rPr lang="fi-FI" smtClean="0"/>
              <a:t>9.1.2023</a:t>
            </a:fld>
            <a:endParaRPr lang="fi-FI"/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3" name="Vapaamuotoinen: Muoto 12">
            <a:extLst>
              <a:ext uri="{FF2B5EF4-FFF2-40B4-BE49-F238E27FC236}">
                <a16:creationId xmlns:a16="http://schemas.microsoft.com/office/drawing/2014/main" id="{5C44CB59-1B4F-4084-940B-6183553AF038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5CBC45A6-3B94-43D3-981F-049DEF451E7F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23E69D7F-6B6B-449F-A07D-D03D285447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6510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8048374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195C47-C6ED-4B94-86A5-1E33528D2E24}" type="datetime1">
              <a:rPr lang="fi-FI" smtClean="0"/>
              <a:t>9.1.2023</a:t>
            </a:fld>
            <a:endParaRPr lang="fi-FI"/>
          </a:p>
        </p:txBody>
      </p:sp>
      <p:sp>
        <p:nvSpPr>
          <p:cNvPr id="16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27C8DDF3-A050-4D61-870D-ACA8550A33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3281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51628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+ 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3" y="285750"/>
            <a:ext cx="5041648" cy="89684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195C47-C6ED-4B94-86A5-1E33528D2E24}" type="datetime1">
              <a:rPr lang="fi-FI" smtClean="0"/>
              <a:t>9.1.2023</a:t>
            </a:fld>
            <a:endParaRPr lang="fi-FI"/>
          </a:p>
        </p:txBody>
      </p:sp>
      <p:sp>
        <p:nvSpPr>
          <p:cNvPr id="16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8" name="Vapaamuotoinen: Muoto 7">
            <a:extLst>
              <a:ext uri="{FF2B5EF4-FFF2-40B4-BE49-F238E27FC236}">
                <a16:creationId xmlns:a16="http://schemas.microsoft.com/office/drawing/2014/main" id="{62C63C96-A267-47D3-B41B-9AD7D61B314A}"/>
              </a:ext>
            </a:extLst>
          </p:cNvPr>
          <p:cNvSpPr/>
          <p:nvPr userDrawn="1"/>
        </p:nvSpPr>
        <p:spPr>
          <a:xfrm>
            <a:off x="4572000" y="0"/>
            <a:ext cx="4576763" cy="1927505"/>
          </a:xfrm>
          <a:custGeom>
            <a:avLst/>
            <a:gdLst>
              <a:gd name="connsiteX0" fmla="*/ 0 w 3422650"/>
              <a:gd name="connsiteY0" fmla="*/ 0 h 1441450"/>
              <a:gd name="connsiteX1" fmla="*/ 3422650 w 3422650"/>
              <a:gd name="connsiteY1" fmla="*/ 1441450 h 1441450"/>
              <a:gd name="connsiteX2" fmla="*/ 3409950 w 3422650"/>
              <a:gd name="connsiteY2" fmla="*/ 0 h 1441450"/>
              <a:gd name="connsiteX3" fmla="*/ 0 w 3422650"/>
              <a:gd name="connsiteY3" fmla="*/ 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2650" h="1441450">
                <a:moveTo>
                  <a:pt x="0" y="0"/>
                </a:moveTo>
                <a:lnTo>
                  <a:pt x="3422650" y="1441450"/>
                </a:lnTo>
                <a:lnTo>
                  <a:pt x="34099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  <p:sp>
        <p:nvSpPr>
          <p:cNvPr id="9" name="Vapaamuotoinen: Muoto 8">
            <a:extLst>
              <a:ext uri="{FF2B5EF4-FFF2-40B4-BE49-F238E27FC236}">
                <a16:creationId xmlns:a16="http://schemas.microsoft.com/office/drawing/2014/main" id="{D2E8CE73-9BF6-4360-90C2-466273E512D7}"/>
              </a:ext>
            </a:extLst>
          </p:cNvPr>
          <p:cNvSpPr/>
          <p:nvPr userDrawn="1"/>
        </p:nvSpPr>
        <p:spPr>
          <a:xfrm>
            <a:off x="7921266" y="-9525"/>
            <a:ext cx="1222734" cy="3829535"/>
          </a:xfrm>
          <a:custGeom>
            <a:avLst/>
            <a:gdLst>
              <a:gd name="connsiteX0" fmla="*/ 0 w 914400"/>
              <a:gd name="connsiteY0" fmla="*/ 0 h 2863850"/>
              <a:gd name="connsiteX1" fmla="*/ 914400 w 914400"/>
              <a:gd name="connsiteY1" fmla="*/ 2863850 h 2863850"/>
              <a:gd name="connsiteX2" fmla="*/ 914400 w 914400"/>
              <a:gd name="connsiteY2" fmla="*/ 6350 h 2863850"/>
              <a:gd name="connsiteX3" fmla="*/ 0 w 914400"/>
              <a:gd name="connsiteY3" fmla="*/ 0 h 286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2863850">
                <a:moveTo>
                  <a:pt x="0" y="0"/>
                </a:moveTo>
                <a:lnTo>
                  <a:pt x="914400" y="2863850"/>
                </a:lnTo>
                <a:lnTo>
                  <a:pt x="914400" y="6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/>
          </a:p>
        </p:txBody>
      </p:sp>
    </p:spTree>
    <p:extLst>
      <p:ext uri="{BB962C8B-B14F-4D97-AF65-F5344CB8AC3E}">
        <p14:creationId xmlns:p14="http://schemas.microsoft.com/office/powerpoint/2010/main" val="392942504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539750" y="4536240"/>
            <a:ext cx="804862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7"/>
          <p:cNvSpPr>
            <a:spLocks noGrp="1"/>
          </p:cNvSpPr>
          <p:nvPr>
            <p:ph type="dt" sz="half" idx="15"/>
          </p:nvPr>
        </p:nvSpPr>
        <p:spPr>
          <a:xfrm>
            <a:off x="4940300" y="4723563"/>
            <a:ext cx="3619500" cy="1393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19F22D-1183-408D-8AA6-A22F3114EC0B}" type="datetime1">
              <a:rPr lang="fi-FI" smtClean="0"/>
              <a:t>9.1.2023</a:t>
            </a:fld>
            <a:endParaRPr lang="fi-FI"/>
          </a:p>
        </p:txBody>
      </p:sp>
      <p:sp>
        <p:nvSpPr>
          <p:cNvPr id="14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940300" y="4862868"/>
            <a:ext cx="3619500" cy="121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7628F-9402-FB47-93B5-FC3C3BFEEBE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948A89B2-36A6-4EC4-BDE5-99C2DC614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5984" y="4492319"/>
            <a:ext cx="1588541" cy="67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3732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91010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40831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4284001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32" y="125417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240"/>
              </a:lnSpc>
              <a:buNone/>
              <a:defRPr sz="3240" b="1" baseline="0">
                <a:solidFill>
                  <a:schemeClr val="tx1"/>
                </a:solidFill>
              </a:defRPr>
            </a:lvl1pPr>
            <a:lvl2pPr marL="277743" indent="0">
              <a:buNone/>
              <a:defRPr sz="851"/>
            </a:lvl2pPr>
            <a:lvl3pPr marL="555485" indent="0">
              <a:buNone/>
              <a:defRPr sz="729"/>
            </a:lvl3pPr>
            <a:lvl4pPr marL="833227" indent="0">
              <a:buNone/>
              <a:defRPr sz="608"/>
            </a:lvl4pPr>
            <a:lvl5pPr marL="1110968" indent="0">
              <a:buNone/>
              <a:defRPr sz="608"/>
            </a:lvl5pPr>
            <a:lvl6pPr marL="1388710" indent="0">
              <a:buNone/>
              <a:defRPr sz="608"/>
            </a:lvl6pPr>
            <a:lvl7pPr marL="1666452" indent="0">
              <a:buNone/>
              <a:defRPr sz="608"/>
            </a:lvl7pPr>
            <a:lvl8pPr marL="1944194" indent="0">
              <a:buNone/>
              <a:defRPr sz="608"/>
            </a:lvl8pPr>
            <a:lvl9pPr marL="2221937" indent="0">
              <a:buNone/>
              <a:defRPr sz="608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32" y="1234540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55485" rtl="0" eaLnBrk="1" fontAlgn="auto" latinLnBrk="0" hangingPunct="1">
              <a:lnSpc>
                <a:spcPts val="2106"/>
              </a:lnSpc>
              <a:spcBef>
                <a:spcPts val="60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1" b="1" baseline="0">
                <a:solidFill>
                  <a:schemeClr val="tx1"/>
                </a:solidFill>
              </a:defRPr>
            </a:lvl1pPr>
            <a:lvl2pPr marL="509194" indent="-219880">
              <a:buFont typeface="Arial" panose="020B0604020202020204" pitchFamily="34" charset="0"/>
              <a:buChar char="•"/>
              <a:defRPr sz="1701"/>
            </a:lvl2pPr>
            <a:lvl3pPr marL="651923" indent="-142729">
              <a:buFont typeface="Arial" panose="020B0604020202020204" pitchFamily="34" charset="0"/>
              <a:buChar char="•"/>
              <a:defRPr sz="1296"/>
            </a:lvl3pPr>
            <a:lvl4pPr marL="833227" indent="0">
              <a:buNone/>
              <a:defRPr sz="608"/>
            </a:lvl4pPr>
            <a:lvl5pPr marL="1110968" indent="0">
              <a:buNone/>
              <a:defRPr sz="608"/>
            </a:lvl5pPr>
            <a:lvl6pPr marL="1388710" indent="0">
              <a:buNone/>
              <a:defRPr sz="608"/>
            </a:lvl6pPr>
            <a:lvl7pPr marL="1666452" indent="0">
              <a:buNone/>
              <a:defRPr sz="608"/>
            </a:lvl7pPr>
            <a:lvl8pPr marL="1944194" indent="0">
              <a:buNone/>
              <a:defRPr sz="608"/>
            </a:lvl8pPr>
            <a:lvl9pPr marL="2221937" indent="0">
              <a:buNone/>
              <a:defRPr sz="608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10367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4889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916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4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980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4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6397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4" y="1470028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4" y="4056628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9200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0515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7816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4833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2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8980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917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254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6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5174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9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3612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24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859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2114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418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727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3338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5626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1105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1237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9824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1497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9608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4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7177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4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1452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4" y="1470028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4" y="4056628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532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18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26483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6975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2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7974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4344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6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6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7438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5204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9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0790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8940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6582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9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3" indent="-191163">
              <a:buFont typeface="Arial"/>
              <a:buChar char="•"/>
              <a:defRPr sz="1800">
                <a:latin typeface="Georgia"/>
              </a:defRPr>
            </a:lvl2pPr>
            <a:lvl3pPr marL="414725" indent="-207363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9" indent="-174962">
              <a:buFont typeface="Arial"/>
              <a:buChar char="•"/>
              <a:defRPr sz="1260" baseline="0">
                <a:latin typeface="Georgia"/>
              </a:defRPr>
            </a:lvl4pPr>
            <a:lvl5pPr marL="978493" indent="-205743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</a:t>
            </a:r>
            <a:r>
              <a:rPr lang="fi-FI" err="1"/>
              <a:t>level</a:t>
            </a:r>
            <a:endParaRPr lang="fi-FI"/>
          </a:p>
          <a:p>
            <a:pPr lvl="3"/>
            <a:r>
              <a:rPr lang="fi-FI" err="1"/>
              <a:t>Four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  <a:p>
            <a:pPr lvl="4"/>
            <a:r>
              <a:rPr lang="fi-FI" err="1"/>
              <a:t>Fifth</a:t>
            </a:r>
            <a:r>
              <a:rPr lang="fi-FI"/>
              <a:t> </a:t>
            </a:r>
            <a:r>
              <a:rPr lang="fi-FI" err="1"/>
              <a:t>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3" indent="-191163">
              <a:buFont typeface="Arial"/>
              <a:buChar char="•"/>
              <a:defRPr sz="1800">
                <a:latin typeface="Georgia"/>
              </a:defRPr>
            </a:lvl2pPr>
            <a:lvl3pPr marL="414725" indent="-207363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9" indent="-174962">
              <a:buFont typeface="Arial"/>
              <a:buChar char="•"/>
              <a:defRPr sz="1260" baseline="0">
                <a:latin typeface="Georgia"/>
              </a:defRPr>
            </a:lvl4pPr>
            <a:lvl5pPr marL="978493" indent="-205743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7796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35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_img_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546350" y="1838633"/>
            <a:ext cx="2286000" cy="8125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i-FI" sz="234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1_Empty_img_bg</a:t>
            </a:r>
            <a:endParaRPr lang="fi-FI" sz="1215">
              <a:solidFill>
                <a:prstClr val="black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9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FFFFFF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0458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088" y="366713"/>
            <a:ext cx="7988300" cy="810816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fi-FI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144400" y="4608900"/>
            <a:ext cx="1537200" cy="286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642"/>
              </a:lnSpc>
              <a:spcBef>
                <a:spcPts val="0"/>
              </a:spcBef>
              <a:buNone/>
              <a:defRPr sz="642" b="1">
                <a:solidFill>
                  <a:schemeClr val="bg2"/>
                </a:solidFill>
              </a:defRPr>
            </a:lvl1pPr>
            <a:lvl2pPr marL="184309" indent="-69652">
              <a:defRPr lang="en-US" sz="642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4309" indent="-63222">
              <a:buFont typeface="Symbol" pitchFamily="18" charset="2"/>
              <a:buNone/>
              <a:defRPr sz="608"/>
            </a:lvl3pPr>
            <a:lvl4pPr marL="184309" indent="-63222">
              <a:defRPr sz="608"/>
            </a:lvl4pPr>
            <a:lvl5pPr marL="184309" indent="-63222">
              <a:buFont typeface="Symbol" pitchFamily="18" charset="2"/>
              <a:buChar char="-"/>
              <a:defRPr sz="608"/>
            </a:lvl5pPr>
            <a:lvl6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6pPr>
            <a:lvl7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7pPr>
            <a:lvl8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8pPr>
            <a:lvl9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0" y="4608900"/>
            <a:ext cx="1702800" cy="286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642"/>
              </a:lnSpc>
              <a:spcBef>
                <a:spcPts val="0"/>
              </a:spcBef>
              <a:buNone/>
              <a:defRPr sz="642" b="1">
                <a:solidFill>
                  <a:schemeClr val="bg2"/>
                </a:solidFill>
              </a:defRPr>
            </a:lvl1pPr>
            <a:lvl2pPr marL="184309" indent="-69652">
              <a:defRPr lang="en-US" sz="642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4309" indent="-63222">
              <a:buFont typeface="Symbol" pitchFamily="18" charset="2"/>
              <a:buNone/>
              <a:defRPr sz="608"/>
            </a:lvl3pPr>
            <a:lvl4pPr marL="184309" indent="-63222">
              <a:defRPr sz="608"/>
            </a:lvl4pPr>
            <a:lvl5pPr marL="184309" indent="-63222">
              <a:buFont typeface="Symbol" pitchFamily="18" charset="2"/>
              <a:buChar char="-"/>
              <a:defRPr sz="608"/>
            </a:lvl5pPr>
            <a:lvl6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6pPr>
            <a:lvl7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7pPr>
            <a:lvl8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8pPr>
            <a:lvl9pPr marL="184680" indent="-63180">
              <a:spcBef>
                <a:spcPts val="203"/>
              </a:spcBef>
              <a:buFont typeface="Symbol" pitchFamily="18" charset="2"/>
              <a:buChar char="-"/>
              <a:defRPr sz="608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FF1B12-A75E-4D87-8AD0-59A704646EF3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E61255-CF88-4960-9EBC-1D0C61F19FC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1039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18000" y="0"/>
            <a:ext cx="9144000" cy="516429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17220" fontAlgn="auto">
              <a:spcBef>
                <a:spcPts val="0"/>
              </a:spcBef>
              <a:spcAft>
                <a:spcPts val="0"/>
              </a:spcAft>
              <a:defRPr/>
            </a:pPr>
            <a:endParaRPr lang="fi-FI" sz="1215" kern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6832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25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400" b="1" spc="-1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4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16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972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1805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2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5783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3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5076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3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281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20" y="1135453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3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4001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2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25" y="1135452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75" b="1">
                <a:latin typeface="+mj-lt"/>
              </a:defRPr>
            </a:lvl1pPr>
            <a:lvl2pPr marL="178193" indent="-159294">
              <a:buFont typeface="Arial"/>
              <a:buChar char="•"/>
              <a:defRPr sz="1500">
                <a:latin typeface="Georgia"/>
              </a:defRPr>
            </a:lvl2pPr>
            <a:lvl3pPr marL="345587" indent="-172793">
              <a:buFont typeface="Lucida Grande"/>
              <a:buChar char="-"/>
              <a:defRPr sz="1200" i="1">
                <a:latin typeface="Georgia"/>
                <a:cs typeface="Georgia"/>
              </a:defRPr>
            </a:lvl3pPr>
            <a:lvl4pPr marL="593977" indent="-145795">
              <a:buFont typeface="Arial"/>
              <a:buChar char="•"/>
              <a:defRPr sz="1050" baseline="0">
                <a:latin typeface="Georgia"/>
              </a:defRPr>
            </a:lvl4pPr>
            <a:lvl5pPr marL="815368" indent="-171443">
              <a:buFont typeface="Courier New"/>
              <a:buChar char="o"/>
              <a:defRPr sz="975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25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2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4558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6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187" b="1" spc="-6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183953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05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620"/>
            </a:lvl1pPr>
            <a:lvl2pPr marL="308610" indent="0" algn="ctr">
              <a:buNone/>
              <a:defRPr sz="1350"/>
            </a:lvl2pPr>
            <a:lvl3pPr marL="617220" indent="0" algn="ctr">
              <a:buNone/>
              <a:defRPr sz="1215"/>
            </a:lvl3pPr>
            <a:lvl4pPr marL="925830" indent="0" algn="ctr">
              <a:buNone/>
              <a:defRPr sz="1080"/>
            </a:lvl4pPr>
            <a:lvl5pPr marL="1234440" indent="0" algn="ctr">
              <a:buNone/>
              <a:defRPr sz="1080"/>
            </a:lvl5pPr>
            <a:lvl6pPr marL="1543050" indent="0" algn="ctr">
              <a:buNone/>
              <a:defRPr sz="1080"/>
            </a:lvl6pPr>
            <a:lvl7pPr marL="1851660" indent="0" algn="ctr">
              <a:buNone/>
              <a:defRPr sz="1080"/>
            </a:lvl7pPr>
            <a:lvl8pPr marL="2160270" indent="0" algn="ctr">
              <a:buNone/>
              <a:defRPr sz="1080"/>
            </a:lvl8pPr>
            <a:lvl9pPr marL="2468880" indent="0" algn="ctr">
              <a:buNone/>
              <a:defRPr sz="108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DB3EF-41F7-4D4F-9E2A-AC569E3C235E}" type="datetimeFigureOut">
              <a:rPr lang="fi-FI" smtClean="0"/>
              <a:t>9.1.2023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5DC57-3653-4C09-9AC2-25D74FC0D04C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514621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4284001"/>
            <a:ext cx="2052735" cy="8572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32" y="125417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240"/>
              </a:lnSpc>
              <a:buNone/>
              <a:defRPr sz="3240" b="1" baseline="0">
                <a:solidFill>
                  <a:schemeClr val="tx1"/>
                </a:solidFill>
              </a:defRPr>
            </a:lvl1pPr>
            <a:lvl2pPr marL="277743" indent="0">
              <a:buNone/>
              <a:defRPr sz="851"/>
            </a:lvl2pPr>
            <a:lvl3pPr marL="555485" indent="0">
              <a:buNone/>
              <a:defRPr sz="729"/>
            </a:lvl3pPr>
            <a:lvl4pPr marL="833227" indent="0">
              <a:buNone/>
              <a:defRPr sz="608"/>
            </a:lvl4pPr>
            <a:lvl5pPr marL="1110968" indent="0">
              <a:buNone/>
              <a:defRPr sz="608"/>
            </a:lvl5pPr>
            <a:lvl6pPr marL="1388710" indent="0">
              <a:buNone/>
              <a:defRPr sz="608"/>
            </a:lvl6pPr>
            <a:lvl7pPr marL="1666452" indent="0">
              <a:buNone/>
              <a:defRPr sz="608"/>
            </a:lvl7pPr>
            <a:lvl8pPr marL="1944194" indent="0">
              <a:buNone/>
              <a:defRPr sz="608"/>
            </a:lvl8pPr>
            <a:lvl9pPr marL="2221937" indent="0">
              <a:buNone/>
              <a:defRPr sz="608"/>
            </a:lvl9pPr>
          </a:lstStyle>
          <a:p>
            <a:pPr lvl="0"/>
            <a:r>
              <a:rPr lang="en-US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32" y="1234540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55485" rtl="0" eaLnBrk="1" fontAlgn="auto" latinLnBrk="0" hangingPunct="1">
              <a:lnSpc>
                <a:spcPts val="2106"/>
              </a:lnSpc>
              <a:spcBef>
                <a:spcPts val="60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1" b="1" baseline="0">
                <a:solidFill>
                  <a:schemeClr val="tx1"/>
                </a:solidFill>
              </a:defRPr>
            </a:lvl1pPr>
            <a:lvl2pPr marL="509194" indent="-219880">
              <a:buFont typeface="Arial" panose="020B0604020202020204" pitchFamily="34" charset="0"/>
              <a:buChar char="•"/>
              <a:defRPr sz="1701"/>
            </a:lvl2pPr>
            <a:lvl3pPr marL="651923" indent="-142729">
              <a:buFont typeface="Arial" panose="020B0604020202020204" pitchFamily="34" charset="0"/>
              <a:buChar char="•"/>
              <a:defRPr sz="1296"/>
            </a:lvl3pPr>
            <a:lvl4pPr marL="833227" indent="0">
              <a:buNone/>
              <a:defRPr sz="608"/>
            </a:lvl4pPr>
            <a:lvl5pPr marL="1110968" indent="0">
              <a:buNone/>
              <a:defRPr sz="608"/>
            </a:lvl5pPr>
            <a:lvl6pPr marL="1388710" indent="0">
              <a:buNone/>
              <a:defRPr sz="608"/>
            </a:lvl6pPr>
            <a:lvl7pPr marL="1666452" indent="0">
              <a:buNone/>
              <a:defRPr sz="608"/>
            </a:lvl7pPr>
            <a:lvl8pPr marL="1944194" indent="0">
              <a:buNone/>
              <a:defRPr sz="608"/>
            </a:lvl8pPr>
            <a:lvl9pPr marL="2221937" indent="0">
              <a:buNone/>
              <a:defRPr sz="608"/>
            </a:lvl9pPr>
          </a:lstStyle>
          <a:p>
            <a:pPr lvl="0"/>
            <a:r>
              <a:rPr lang="en-US"/>
              <a:t>Your text here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756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Process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284000"/>
            <a:ext cx="2052735" cy="85723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F47391-4AC0-4F7E-BFA1-6D69FD784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EF0705C-E100-4768-B5FA-237B27E15CFD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17" name="Alatunnisteen paikkamerkki 1">
            <a:extLst>
              <a:ext uri="{FF2B5EF4-FFF2-40B4-BE49-F238E27FC236}">
                <a16:creationId xmlns:a16="http://schemas.microsoft.com/office/drawing/2014/main" id="{84C2D171-9BD9-4BE0-A001-56E727390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40" y="28265"/>
            <a:ext cx="8497093" cy="1136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Body slide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175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385879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2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12600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3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856800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4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7582931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27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215" smtClean="0">
                <a:solidFill>
                  <a:schemeClr val="lt1"/>
                </a:solidFill>
              </a:defRPr>
            </a:lvl2pPr>
            <a:lvl3pPr>
              <a:defRPr lang="en-US" sz="1215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462992"/>
            <a:r>
              <a:rPr lang="en-US"/>
              <a:t>5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20109F-4A5D-AF40-A937-1636D1D64A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4254" y="2304306"/>
            <a:ext cx="1539000" cy="19796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1A38691-037D-394F-800A-B98CC5204D3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2048379" y="2318301"/>
            <a:ext cx="1539000" cy="19657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91022EE-194A-0147-A4C1-5527DCEE10B9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788504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9974140-1C49-A14E-96F4-B74CDFC7AA8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5519300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4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A54D1A0-56C3-904B-A447-7E1980F40DB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7245431" y="2318299"/>
            <a:ext cx="1539000" cy="19657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260" b="1" smtClean="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Point 4</a:t>
            </a:r>
          </a:p>
        </p:txBody>
      </p:sp>
    </p:spTree>
    <p:extLst>
      <p:ext uri="{BB962C8B-B14F-4D97-AF65-F5344CB8AC3E}">
        <p14:creationId xmlns:p14="http://schemas.microsoft.com/office/powerpoint/2010/main" val="1154656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655016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5248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683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542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606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4898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3500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031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84485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005EB8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2539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EF334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379423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3102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rgbClr val="FFCD0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221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4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005EB8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fi-FI" noProof="0"/>
              <a:t>Drag picture to placeholder or click icon to add</a:t>
            </a:r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618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5249" b="1" spc="-146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16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33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66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99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3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6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9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33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66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3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1386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fi-FI" noProof="0"/>
              <a:t>Drag picture to placeholder or click icon to add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4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EF334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04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fi-FI" noProof="0"/>
              <a:t>Drag picture to placeholder or click icon to add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4" y="1470028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rgbClr val="FFCD00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4" y="4056628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1" y="0"/>
            <a:ext cx="1654175" cy="13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057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6835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48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9613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45992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5938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7589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/>
              <a:t>9.1.2023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46364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6828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9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8510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4944"/>
            <a:ext cx="3988079" cy="300298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/>
              <a:t>9.1.2023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241161"/>
            <a:ext cx="2055876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375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02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01.xml"/><Relationship Id="rId9" Type="http://schemas.openxmlformats.org/officeDocument/2006/relationships/vmlDrawing" Target="../drawings/vmlDrawing3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207.xml"/><Relationship Id="rId21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20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219.xml"/><Relationship Id="rId23" Type="http://schemas.openxmlformats.org/officeDocument/2006/relationships/theme" Target="../theme/theme11.xml"/><Relationship Id="rId10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22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29.xml"/><Relationship Id="rId21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23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Relationship Id="rId22" Type="http://schemas.openxmlformats.org/officeDocument/2006/relationships/slideLayout" Target="../slideLayouts/slideLayout24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252.xml"/><Relationship Id="rId7" Type="http://schemas.openxmlformats.org/officeDocument/2006/relationships/slideLayout" Target="../slideLayouts/slideLayout25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51.xml"/><Relationship Id="rId1" Type="http://schemas.openxmlformats.org/officeDocument/2006/relationships/slideLayout" Target="../slideLayouts/slideLayout250.xml"/><Relationship Id="rId6" Type="http://schemas.openxmlformats.org/officeDocument/2006/relationships/slideLayout" Target="../slideLayouts/slideLayout255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254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253.xml"/><Relationship Id="rId9" Type="http://schemas.openxmlformats.org/officeDocument/2006/relationships/vmlDrawing" Target="../drawings/vmlDrawing4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18" Type="http://schemas.openxmlformats.org/officeDocument/2006/relationships/theme" Target="../theme/theme14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17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58.xml"/><Relationship Id="rId16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1.xml"/><Relationship Id="rId15" Type="http://schemas.openxmlformats.org/officeDocument/2006/relationships/slideLayout" Target="../slideLayouts/slideLayout271.xml"/><Relationship Id="rId10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slideLayout" Target="../slideLayouts/slideLayout27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18" Type="http://schemas.openxmlformats.org/officeDocument/2006/relationships/slideLayout" Target="../slideLayouts/slideLayout291.xml"/><Relationship Id="rId3" Type="http://schemas.openxmlformats.org/officeDocument/2006/relationships/slideLayout" Target="../slideLayouts/slideLayout276.xml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83.xml"/><Relationship Id="rId19" Type="http://schemas.openxmlformats.org/officeDocument/2006/relationships/theme" Target="../theme/theme15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63.xml"/><Relationship Id="rId34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33" Type="http://schemas.openxmlformats.org/officeDocument/2006/relationships/slideLayout" Target="../slideLayouts/slideLayout175.xml"/><Relationship Id="rId38" Type="http://schemas.openxmlformats.org/officeDocument/2006/relationships/theme" Target="../theme/theme8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32" Type="http://schemas.openxmlformats.org/officeDocument/2006/relationships/slideLayout" Target="../slideLayouts/slideLayout174.xml"/><Relationship Id="rId37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slideLayout" Target="../slideLayouts/slideLayout170.xml"/><Relationship Id="rId36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31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Relationship Id="rId30" Type="http://schemas.openxmlformats.org/officeDocument/2006/relationships/slideLayout" Target="../slideLayouts/slideLayout172.xml"/><Relationship Id="rId35" Type="http://schemas.openxmlformats.org/officeDocument/2006/relationships/slideLayout" Target="../slideLayouts/slideLayout177.xml"/><Relationship Id="rId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9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5" imgW="395" imgH="396" progId="TCLayout.ActiveDocument.1">
                  <p:embed/>
                </p:oleObj>
              </mc:Choice>
              <mc:Fallback>
                <p:oleObj name="think-cell Slide" r:id="rId25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5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5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9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5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36715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</p:sldLayoutIdLst>
  <p:hf hdr="0" ftr="0"/>
  <p:txStyles>
    <p:titleStyle>
      <a:lvl1pPr algn="ctr" defTabSz="333299" rtl="0" eaLnBrk="1" fontAlgn="base" hangingPunct="1">
        <a:spcBef>
          <a:spcPct val="0"/>
        </a:spcBef>
        <a:spcAft>
          <a:spcPct val="0"/>
        </a:spcAft>
        <a:defRPr sz="3208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33299"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666598"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999896"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333195" algn="ctr" defTabSz="333299" rtl="0" eaLnBrk="1" fontAlgn="base" hangingPunct="1">
        <a:spcBef>
          <a:spcPct val="0"/>
        </a:spcBef>
        <a:spcAft>
          <a:spcPct val="0"/>
        </a:spcAft>
        <a:defRPr sz="3208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49974" indent="-249974" algn="l" defTabSz="33329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333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541611" indent="-208312" algn="l" defTabSz="333299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41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833247" indent="-166649" algn="l" defTabSz="33329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75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166546" indent="-166649" algn="l" defTabSz="333299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58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499845" indent="-166649" algn="l" defTabSz="333299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58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1833143" indent="-166649" algn="l" defTabSz="333299" rtl="0" eaLnBrk="1" latinLnBrk="0" hangingPunct="1">
        <a:spcBef>
          <a:spcPct val="20000"/>
        </a:spcBef>
        <a:buFont typeface="Arial"/>
        <a:buChar char="•"/>
        <a:defRPr sz="1458" kern="1200">
          <a:solidFill>
            <a:schemeClr val="tx1"/>
          </a:solidFill>
          <a:latin typeface="+mn-lt"/>
          <a:ea typeface="+mn-ea"/>
          <a:cs typeface="+mn-cs"/>
        </a:defRPr>
      </a:lvl6pPr>
      <a:lvl7pPr marL="2166442" indent="-166649" algn="l" defTabSz="333299" rtl="0" eaLnBrk="1" latinLnBrk="0" hangingPunct="1">
        <a:spcBef>
          <a:spcPct val="20000"/>
        </a:spcBef>
        <a:buFont typeface="Arial"/>
        <a:buChar char="•"/>
        <a:defRPr sz="1458" kern="1200">
          <a:solidFill>
            <a:schemeClr val="tx1"/>
          </a:solidFill>
          <a:latin typeface="+mn-lt"/>
          <a:ea typeface="+mn-ea"/>
          <a:cs typeface="+mn-cs"/>
        </a:defRPr>
      </a:lvl7pPr>
      <a:lvl8pPr marL="2499741" indent="-166649" algn="l" defTabSz="333299" rtl="0" eaLnBrk="1" latinLnBrk="0" hangingPunct="1">
        <a:spcBef>
          <a:spcPct val="20000"/>
        </a:spcBef>
        <a:buFont typeface="Arial"/>
        <a:buChar char="•"/>
        <a:defRPr sz="1458" kern="1200">
          <a:solidFill>
            <a:schemeClr val="tx1"/>
          </a:solidFill>
          <a:latin typeface="+mn-lt"/>
          <a:ea typeface="+mn-ea"/>
          <a:cs typeface="+mn-cs"/>
        </a:defRPr>
      </a:lvl8pPr>
      <a:lvl9pPr marL="2833040" indent="-166649" algn="l" defTabSz="333299" rtl="0" eaLnBrk="1" latinLnBrk="0" hangingPunct="1">
        <a:spcBef>
          <a:spcPct val="20000"/>
        </a:spcBef>
        <a:buFont typeface="Arial"/>
        <a:buChar char="•"/>
        <a:defRPr sz="14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1pPr>
      <a:lvl2pPr marL="333299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2pPr>
      <a:lvl3pPr marL="666598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3pPr>
      <a:lvl4pPr marL="999896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4pPr>
      <a:lvl5pPr marL="1333195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5pPr>
      <a:lvl6pPr marL="1666494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6pPr>
      <a:lvl7pPr marL="1999793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7pPr>
      <a:lvl8pPr marL="2333092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8pPr>
      <a:lvl9pPr marL="2666390" algn="l" defTabSz="333299" rtl="0" eaLnBrk="1" latinLnBrk="0" hangingPunct="1">
        <a:defRPr sz="13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92836558"/>
              </p:ext>
            </p:extLst>
          </p:nvPr>
        </p:nvGraphicFramePr>
        <p:xfrm>
          <a:off x="1588" y="1429"/>
          <a:ext cx="1588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429"/>
                        <a:ext cx="1588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6" r:id="rId7"/>
  </p:sldLayoutIdLst>
  <p:hf hdr="0" ftr="0"/>
  <p:txStyles>
    <p:titleStyle>
      <a:lvl1pPr algn="ctr" defTabSz="342887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42887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685773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028659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371545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57165" indent="-257165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557190" indent="-214304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857216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00102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542988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1885874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0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40300" y="4464843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4940300" y="4583906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33B88C7-EEAC-4B1D-A97C-B7DEF286B852}" type="datetime1">
              <a:rPr lang="fi-FI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4940300" y="4723210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382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  <p:sldLayoutId id="2147484066" r:id="rId19"/>
    <p:sldLayoutId id="2147484067" r:id="rId20"/>
    <p:sldLayoutId id="2147484068" r:id="rId21"/>
    <p:sldLayoutId id="2147484069" r:id="rId22"/>
  </p:sldLayoutIdLst>
  <p:hf hdr="0" ftr="0" dt="0"/>
  <p:txStyles>
    <p:titleStyle>
      <a:lvl1pPr algn="ctr" defTabSz="342887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42887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685773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028659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371545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57165" indent="-257165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557190" indent="-214304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857216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00102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542988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1885874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0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2" name="Alatunnisteen paikkamerkki 1">
            <a:extLst>
              <a:ext uri="{FF2B5EF4-FFF2-40B4-BE49-F238E27FC236}">
                <a16:creationId xmlns:a16="http://schemas.microsoft.com/office/drawing/2014/main" id="{1C150BC1-EEBC-48B9-AEAE-962A54F46F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7620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  <p:sldLayoutId id="2147484087" r:id="rId16"/>
    <p:sldLayoutId id="2147484088" r:id="rId17"/>
    <p:sldLayoutId id="2147484089" r:id="rId18"/>
    <p:sldLayoutId id="2147484090" r:id="rId19"/>
    <p:sldLayoutId id="2147484091" r:id="rId20"/>
    <p:sldLayoutId id="2147484092" r:id="rId21"/>
    <p:sldLayoutId id="2147484093" r:id="rId22"/>
    <p:sldLayoutId id="2147484094" r:id="rId23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1">
          <p15:clr>
            <a:srgbClr val="F26B43"/>
          </p15:clr>
        </p15:guide>
        <p15:guide id="3" orient="horz" pos="32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595" y="596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595" y="596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633414" y="133350"/>
            <a:ext cx="7877175" cy="857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633414" y="1181100"/>
            <a:ext cx="7877175" cy="3486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84637" y="4905375"/>
            <a:ext cx="230832" cy="22724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81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4217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</p:sldLayoutIdLst>
  <p:transition spd="med"/>
  <p:txStyles>
    <p:titleStyle>
      <a:lvl1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1pPr>
      <a:lvl2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8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214313" marR="0" indent="-214313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1pPr>
      <a:lvl2pPr marL="428625" marR="0" indent="-214313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2pPr>
      <a:lvl3pPr marL="642938" marR="0" indent="-214313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857250" marR="0" indent="-214313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071563" marR="0" indent="-214313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269389" marR="0" indent="-197826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1483701" marR="0" indent="-197826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1698014" marR="0" indent="-197826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1912326" marR="0" indent="-197826" algn="l" defTabSz="278607" rtl="0" latinLnBrk="0">
        <a:lnSpc>
          <a:spcPct val="100000"/>
        </a:lnSpc>
        <a:spcBef>
          <a:spcPts val="1992"/>
        </a:spcBef>
        <a:spcAft>
          <a:spcPts val="0"/>
        </a:spcAft>
        <a:buClrTx/>
        <a:buSzPct val="125000"/>
        <a:buFontTx/>
        <a:buChar char="•"/>
        <a:tabLst/>
        <a:defRPr sz="162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2786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40300" y="4464844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4940300" y="4583906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C5591C4-5CCB-4469-BC80-0D582F3DE5F0}" type="datetime1">
              <a:rPr lang="fi-FI" smtClean="0"/>
              <a:t>9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4940300" y="4723211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65DB13D-24FD-0641-8100-A6CD964B88B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0792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1" r:id="rId8"/>
    <p:sldLayoutId id="2147484112" r:id="rId9"/>
    <p:sldLayoutId id="2147484113" r:id="rId10"/>
    <p:sldLayoutId id="2147484114" r:id="rId11"/>
    <p:sldLayoutId id="2147484115" r:id="rId12"/>
    <p:sldLayoutId id="2147484116" r:id="rId13"/>
    <p:sldLayoutId id="2147484117" r:id="rId14"/>
    <p:sldLayoutId id="2147484118" r:id="rId15"/>
    <p:sldLayoutId id="2147484119" r:id="rId16"/>
    <p:sldLayoutId id="2147484120" r:id="rId17"/>
  </p:sldLayoutIdLst>
  <p:hf hdr="0" ftr="0"/>
  <p:txStyles>
    <p:titleStyle>
      <a:lvl1pPr algn="ctr" defTabSz="342900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57175" indent="-257175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8572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40300" y="4464844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4940300" y="4583906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C5591C4-5CCB-4469-BC80-0D582F3DE5F0}" type="datetime1">
              <a:rPr lang="fi-FI" smtClean="0"/>
              <a:t>9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4940300" y="4723211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65DB13D-24FD-0641-8100-A6CD964B88B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95904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33" r:id="rId12"/>
    <p:sldLayoutId id="2147484134" r:id="rId13"/>
    <p:sldLayoutId id="2147484135" r:id="rId14"/>
    <p:sldLayoutId id="2147484136" r:id="rId15"/>
    <p:sldLayoutId id="2147484137" r:id="rId16"/>
    <p:sldLayoutId id="2147484138" r:id="rId17"/>
    <p:sldLayoutId id="2147484139" r:id="rId18"/>
  </p:sldLayoutIdLst>
  <p:hf hdr="0" ftr="0"/>
  <p:txStyles>
    <p:titleStyle>
      <a:lvl1pPr algn="ctr" defTabSz="342900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57175" indent="-257175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8572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9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6908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  <p:sldLayoutId id="2147483807" r:id="rId20"/>
    <p:sldLayoutId id="2147483808" r:id="rId21"/>
  </p:sldLayoutIdLst>
  <p:hf hdr="0" ftr="0"/>
  <p:txStyles>
    <p:titleStyle>
      <a:lvl1pPr algn="ctr" defTabSz="411480" rtl="0" eaLnBrk="1" fontAlgn="base" hangingPunct="1">
        <a:spcBef>
          <a:spcPct val="0"/>
        </a:spcBef>
        <a:spcAft>
          <a:spcPct val="0"/>
        </a:spcAft>
        <a:defRPr sz="396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1148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82296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23444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64592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08610" indent="-30861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8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68655" indent="-257175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2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02870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6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44018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85166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4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  <p:sldLayoutId id="2147483864" r:id="rId26"/>
  </p:sldLayoutIdLst>
  <p:hf hdr="0" ftr="0"/>
  <p:txStyles>
    <p:titleStyle>
      <a:lvl1pPr algn="ctr" defTabSz="411480" rtl="0" eaLnBrk="1" fontAlgn="base" hangingPunct="1">
        <a:spcBef>
          <a:spcPct val="0"/>
        </a:spcBef>
        <a:spcAft>
          <a:spcPct val="0"/>
        </a:spcAft>
        <a:defRPr sz="396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1148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82296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23444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64592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08610" indent="-30861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8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68655" indent="-257175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2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02870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6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44018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85166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72640991"/>
              </p:ext>
            </p:extLst>
          </p:nvPr>
        </p:nvGraphicFramePr>
        <p:xfrm>
          <a:off x="1588" y="1429"/>
          <a:ext cx="1588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429"/>
                        <a:ext cx="1588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12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3" r:id="rId7"/>
    <p:sldLayoutId id="2147483874" r:id="rId8"/>
    <p:sldLayoutId id="2147483875" r:id="rId9"/>
    <p:sldLayoutId id="2147483876" r:id="rId10"/>
    <p:sldLayoutId id="2147483877" r:id="rId11"/>
  </p:sldLayoutIdLst>
  <p:hf hdr="0" ftr="0"/>
  <p:txStyles>
    <p:titleStyle>
      <a:lvl1pPr algn="ctr" defTabSz="342887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42887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685773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028659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371545" algn="ctr" defTabSz="342887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57165" indent="-257165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557190" indent="-214304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857216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00102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542988" indent="-171443" algn="l" defTabSz="342887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1885874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34288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0" algn="l" defTabSz="34288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9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2519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  <p:sldLayoutId id="2147483893" r:id="rId15"/>
    <p:sldLayoutId id="2147483894" r:id="rId16"/>
    <p:sldLayoutId id="2147483895" r:id="rId17"/>
    <p:sldLayoutId id="2147483896" r:id="rId18"/>
    <p:sldLayoutId id="2147483897" r:id="rId19"/>
    <p:sldLayoutId id="2147483898" r:id="rId20"/>
    <p:sldLayoutId id="2147483899" r:id="rId21"/>
  </p:sldLayoutIdLst>
  <p:hf hdr="0" ftr="0"/>
  <p:txStyles>
    <p:titleStyle>
      <a:lvl1pPr algn="ctr" defTabSz="411480" rtl="0" eaLnBrk="1" fontAlgn="base" hangingPunct="1">
        <a:spcBef>
          <a:spcPct val="0"/>
        </a:spcBef>
        <a:spcAft>
          <a:spcPct val="0"/>
        </a:spcAft>
        <a:defRPr sz="396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1148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82296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23444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64592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08610" indent="-30861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8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68655" indent="-257175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2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02870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6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44018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85166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7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9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6713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</p:sldLayoutIdLst>
  <p:hf hdr="0" ftr="0"/>
  <p:txStyles>
    <p:titleStyle>
      <a:lvl1pPr algn="ctr" defTabSz="370332" rtl="0" eaLnBrk="1" fontAlgn="base" hangingPunct="1">
        <a:spcBef>
          <a:spcPct val="0"/>
        </a:spcBef>
        <a:spcAft>
          <a:spcPct val="0"/>
        </a:spcAft>
        <a:defRPr sz="3564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70332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740664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110996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481328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77749" indent="-277749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92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01790" indent="-231458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268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25830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944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96162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2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666494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2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036826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07158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777490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147822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1pPr>
      <a:lvl2pPr marL="370332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2pPr>
      <a:lvl3pPr marL="740664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3pPr>
      <a:lvl4pPr marL="1110996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5pPr>
      <a:lvl6pPr marL="1851660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6pPr>
      <a:lvl7pPr marL="2221992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7pPr>
      <a:lvl8pPr marL="2592324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8pPr>
      <a:lvl9pPr marL="2962656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7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9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4456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  <p:sldLayoutId id="2147483953" r:id="rId19"/>
    <p:sldLayoutId id="2147483954" r:id="rId20"/>
    <p:sldLayoutId id="2147483955" r:id="rId21"/>
  </p:sldLayoutIdLst>
  <p:hf hdr="0" ftr="0"/>
  <p:txStyles>
    <p:titleStyle>
      <a:lvl1pPr algn="ctr" defTabSz="370332" rtl="0" eaLnBrk="1" fontAlgn="base" hangingPunct="1">
        <a:spcBef>
          <a:spcPct val="0"/>
        </a:spcBef>
        <a:spcAft>
          <a:spcPct val="0"/>
        </a:spcAft>
        <a:defRPr sz="3564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70332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740664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110996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481328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77749" indent="-277749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92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01790" indent="-231458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268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25830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944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96162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2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666494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2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036826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07158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777490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147822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1pPr>
      <a:lvl2pPr marL="370332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2pPr>
      <a:lvl3pPr marL="740664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3pPr>
      <a:lvl4pPr marL="1110996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5pPr>
      <a:lvl6pPr marL="1851660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6pPr>
      <a:lvl7pPr marL="2221992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7pPr>
      <a:lvl8pPr marL="2592324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8pPr>
      <a:lvl9pPr marL="2962656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7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.1.2023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8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37" r:id="rId37"/>
  </p:sldLayoutIdLst>
  <p:hf hdr="0" ftr="0"/>
  <p:txStyles>
    <p:titleStyle>
      <a:lvl1pPr algn="ctr" defTabSz="370332" rtl="0" eaLnBrk="1" fontAlgn="base" hangingPunct="1">
        <a:spcBef>
          <a:spcPct val="0"/>
        </a:spcBef>
        <a:spcAft>
          <a:spcPct val="0"/>
        </a:spcAft>
        <a:defRPr sz="3564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70332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740664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110996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481328" algn="ctr" defTabSz="370332" rtl="0" eaLnBrk="1" fontAlgn="base" hangingPunct="1">
        <a:spcBef>
          <a:spcPct val="0"/>
        </a:spcBef>
        <a:spcAft>
          <a:spcPct val="0"/>
        </a:spcAft>
        <a:defRPr sz="3564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77749" indent="-277749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92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01790" indent="-231458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268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25830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944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296162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2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666494" indent="-185166" algn="l" defTabSz="37033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2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036826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07158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777490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147822" indent="-185166" algn="l" defTabSz="370332" rtl="0" eaLnBrk="1" latinLnBrk="0" hangingPunct="1">
        <a:spcBef>
          <a:spcPct val="20000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1pPr>
      <a:lvl2pPr marL="370332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2pPr>
      <a:lvl3pPr marL="740664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3pPr>
      <a:lvl4pPr marL="1110996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5pPr>
      <a:lvl6pPr marL="1851660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6pPr>
      <a:lvl7pPr marL="2221992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7pPr>
      <a:lvl8pPr marL="2592324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8pPr>
      <a:lvl9pPr marL="2962656" algn="l" defTabSz="370332" rtl="0" eaLnBrk="1" latinLnBrk="0" hangingPunct="1">
        <a:defRPr sz="145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8800" y="4848630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78800" y="4672741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/>
          </a:p>
        </p:txBody>
      </p:sp>
      <p:sp>
        <p:nvSpPr>
          <p:cNvPr id="2" name="Alatunnisteen paikkamerkki 1">
            <a:extLst>
              <a:ext uri="{FF2B5EF4-FFF2-40B4-BE49-F238E27FC236}">
                <a16:creationId xmlns:a16="http://schemas.microsoft.com/office/drawing/2014/main" id="{1C150BC1-EEBC-48B9-AEAE-962A54F46F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/>
                </a:solidFill>
              </a:defRPr>
            </a:lvl1pPr>
          </a:lstStyle>
          <a:p>
            <a:r>
              <a:rPr lang="fi-FI" err="1"/>
              <a:t>Your</a:t>
            </a:r>
            <a:r>
              <a:rPr lang="fi-FI"/>
              <a:t> text </a:t>
            </a:r>
            <a:r>
              <a:rPr lang="fi-FI" err="1"/>
              <a:t>he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34284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  <p:sldLayoutId id="2147484019" r:id="rId12"/>
    <p:sldLayoutId id="2147484020" r:id="rId13"/>
    <p:sldLayoutId id="2147484021" r:id="rId14"/>
    <p:sldLayoutId id="2147484022" r:id="rId15"/>
    <p:sldLayoutId id="2147484023" r:id="rId16"/>
    <p:sldLayoutId id="2147484024" r:id="rId17"/>
    <p:sldLayoutId id="2147484025" r:id="rId18"/>
  </p:sldLayoutIdLst>
  <p:hf sldNum="0" hdr="0" ftr="0" dt="0"/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97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1">
          <p15:clr>
            <a:srgbClr val="F26B43"/>
          </p15:clr>
        </p15:guide>
        <p15:guide id="3" orient="horz" pos="3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7.xml"/><Relationship Id="rId5" Type="http://schemas.openxmlformats.org/officeDocument/2006/relationships/image" Target="../media/image31.emf"/><Relationship Id="rId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alto.fi/en/strategy" TargetMode="External"/><Relationship Id="rId7" Type="http://schemas.openxmlformats.org/officeDocument/2006/relationships/hyperlink" Target="https://www.aalto.fi/sites/g/files/flghsv161/files/2022-01/Equality%2C%20Diversity%20and%20Inclusion%20Plan%202022%E2%80%932024.pdf" TargetMode="External"/><Relationship Id="rId2" Type="http://schemas.openxmlformats.org/officeDocument/2006/relationships/hyperlink" Target="https://www.aalto.fi/en/aalto-handbook/self-evaluation-report-audit-2022" TargetMode="External"/><Relationship Id="rId1" Type="http://schemas.openxmlformats.org/officeDocument/2006/relationships/slideLayout" Target="../slideLayouts/slideLayout77.xml"/><Relationship Id="rId6" Type="http://schemas.openxmlformats.org/officeDocument/2006/relationships/hyperlink" Target="https://into.aalto.fi/pages/viewpage.action?pageId=47653720" TargetMode="External"/><Relationship Id="rId5" Type="http://schemas.openxmlformats.org/officeDocument/2006/relationships/hyperlink" Target="https://into.aalto.fi/display/enopinnot/Academic+catalogue+2022-2024" TargetMode="External"/><Relationship Id="rId4" Type="http://schemas.openxmlformats.org/officeDocument/2006/relationships/hyperlink" Target="https://www.aalto.fi/en/aalto-handbook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9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7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8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B46CBE-AE72-1B4A-9388-3CA1A8F1FB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606" t="1129" r="21005" b="1984"/>
          <a:stretch/>
        </p:blipFill>
        <p:spPr>
          <a:xfrm>
            <a:off x="0" y="-1"/>
            <a:ext cx="9221821" cy="51435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BC2928C-0972-3C46-80BB-8560397DDBDB}"/>
              </a:ext>
            </a:extLst>
          </p:cNvPr>
          <p:cNvSpPr/>
          <p:nvPr/>
        </p:nvSpPr>
        <p:spPr>
          <a:xfrm>
            <a:off x="-43946" y="7416"/>
            <a:ext cx="4572000" cy="515767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350" b="0" i="0" u="none" strike="noStrike" kern="1200" cap="none" spc="0" normalizeH="0" baseline="0" noProof="0">
              <a:ln>
                <a:noFill/>
              </a:ln>
              <a:solidFill>
                <a:srgbClr val="FFCD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Kuva 1">
            <a:extLst>
              <a:ext uri="{FF2B5EF4-FFF2-40B4-BE49-F238E27FC236}">
                <a16:creationId xmlns:a16="http://schemas.microsoft.com/office/drawing/2014/main" id="{FF861126-0747-1948-BAE2-B1D1313E93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60479"/>
            <a:ext cx="1734813" cy="1675605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935371F9-34B0-A046-A95C-3C33F084B596}"/>
              </a:ext>
            </a:extLst>
          </p:cNvPr>
          <p:cNvSpPr txBox="1">
            <a:spLocks/>
          </p:cNvSpPr>
          <p:nvPr/>
        </p:nvSpPr>
        <p:spPr>
          <a:xfrm>
            <a:off x="456497" y="1198919"/>
            <a:ext cx="3316993" cy="663264"/>
          </a:xfrm>
          <a:prstGeom prst="rect">
            <a:avLst/>
          </a:prstGeom>
        </p:spPr>
        <p:txBody>
          <a:bodyPr lIns="0" rIns="0" anchor="b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/>
              <a:buNone/>
              <a:defRPr sz="40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52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FI" sz="5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alto University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6DC7A70-38F4-ED4A-AF60-1F90351322CE}"/>
              </a:ext>
            </a:extLst>
          </p:cNvPr>
          <p:cNvSpPr txBox="1">
            <a:spLocks/>
          </p:cNvSpPr>
          <p:nvPr/>
        </p:nvSpPr>
        <p:spPr>
          <a:xfrm>
            <a:off x="456497" y="2455208"/>
            <a:ext cx="3869614" cy="914929"/>
          </a:xfrm>
          <a:prstGeom prst="rect">
            <a:avLst/>
          </a:prstGeom>
          <a:ln w="12700">
            <a:noFill/>
          </a:ln>
        </p:spPr>
        <p:txBody>
          <a:bodyPr lIns="0" tIns="45720" rIns="0" bIns="45720" anchor="t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/>
              <a:buNone/>
              <a:defRPr sz="2800" b="1" i="0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NEEC AUDI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/>
                <a:cs typeface="arial"/>
              </a:rPr>
              <a:t>Site visit 25.-26.1.2023</a:t>
            </a:r>
            <a:endParaRPr kumimoji="0" lang="en-FI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19" name="Suora yhdysviiva 6">
            <a:extLst>
              <a:ext uri="{FF2B5EF4-FFF2-40B4-BE49-F238E27FC236}">
                <a16:creationId xmlns:a16="http://schemas.microsoft.com/office/drawing/2014/main" id="{0F71724B-68F0-C44C-94C5-D43126F87D9A}"/>
              </a:ext>
            </a:extLst>
          </p:cNvPr>
          <p:cNvCxnSpPr>
            <a:cxnSpLocks/>
          </p:cNvCxnSpPr>
          <p:nvPr/>
        </p:nvCxnSpPr>
        <p:spPr>
          <a:xfrm>
            <a:off x="479356" y="1952524"/>
            <a:ext cx="379683" cy="0"/>
          </a:xfrm>
          <a:prstGeom prst="line">
            <a:avLst/>
          </a:prstGeom>
          <a:ln w="762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BF4B871E-287A-DE45-9A53-4010814745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50" y="3471009"/>
            <a:ext cx="1734813" cy="167925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E3B9226-67B3-4E7F-A836-6AFC756E4EE7}"/>
              </a:ext>
            </a:extLst>
          </p:cNvPr>
          <p:cNvSpPr txBox="1"/>
          <p:nvPr/>
        </p:nvSpPr>
        <p:spPr>
          <a:xfrm>
            <a:off x="2286000" y="4482464"/>
            <a:ext cx="457200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4.1.2023 / KEK</a:t>
            </a:r>
          </a:p>
        </p:txBody>
      </p:sp>
    </p:spTree>
    <p:extLst>
      <p:ext uri="{BB962C8B-B14F-4D97-AF65-F5344CB8AC3E}">
        <p14:creationId xmlns:p14="http://schemas.microsoft.com/office/powerpoint/2010/main" val="39466572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2C2A569D-96F7-5B4E-A635-B22EDF8DB47A}"/>
              </a:ext>
            </a:extLst>
          </p:cNvPr>
          <p:cNvSpPr txBox="1">
            <a:spLocks/>
          </p:cNvSpPr>
          <p:nvPr/>
        </p:nvSpPr>
        <p:spPr>
          <a:xfrm>
            <a:off x="397406" y="2764386"/>
            <a:ext cx="494587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411480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440" i="1" kern="1200">
                <a:solidFill>
                  <a:schemeClr val="bg1"/>
                </a:solidFill>
                <a:latin typeface="Georgia"/>
                <a:ea typeface="ＭＳ Ｐゴシック" charset="0"/>
                <a:cs typeface="Georgia"/>
              </a:defRPr>
            </a:lvl1pPr>
            <a:lvl2pPr marL="41148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520" kern="1200">
                <a:solidFill>
                  <a:schemeClr val="tx1">
                    <a:tint val="75000"/>
                  </a:schemeClr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82296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6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23444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164592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05740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46888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88036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184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148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84AC8-C7A8-421B-9687-B3DB8825BEA8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41339" y="28438"/>
            <a:ext cx="7651090" cy="999574"/>
          </a:xfrm>
        </p:spPr>
        <p:txBody>
          <a:bodyPr lIns="0" tIns="0" rIns="0" bIns="0" anchor="ctr"/>
          <a:lstStyle/>
          <a:p>
            <a:r>
              <a:rPr lang="fi-FI" sz="3200"/>
              <a:t>Audit team of Aalto</a:t>
            </a:r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B6DA2768-80FD-4E89-BCFA-0C3CE654A19B}"/>
              </a:ext>
            </a:extLst>
          </p:cNvPr>
          <p:cNvSpPr txBox="1">
            <a:spLocks/>
          </p:cNvSpPr>
          <p:nvPr/>
        </p:nvSpPr>
        <p:spPr>
          <a:xfrm>
            <a:off x="541339" y="1004677"/>
            <a:ext cx="7651090" cy="3134146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vert="horz" lIns="0" tIns="0" rIns="0" bIns="0" anchor="t"/>
          <a:lstStyle>
            <a:lvl1pPr marL="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75" b="1" kern="1200">
                <a:solidFill>
                  <a:schemeClr val="tx1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marL="222647" indent="-203597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78DC4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2pPr>
            <a:lvl3pPr marL="451247" indent="-222647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1200" i="1" kern="12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defRPr>
            </a:lvl3pPr>
            <a:lvl4pPr marL="675085" indent="-223838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1050" kern="1200" baseline="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defRPr>
            </a:lvl4pPr>
            <a:lvl5pPr marL="920354" indent="-240506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975" kern="1200" baseline="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55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/>
            </a:endParaRP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Antoinette Perry (</a:t>
            </a: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chair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)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 Vice </a:t>
            </a:r>
            <a:r>
              <a:rPr kumimoji="0" lang="fi-FI" sz="155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Principal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 </a:t>
            </a:r>
            <a:r>
              <a:rPr kumimoji="0" lang="fi-FI" sz="155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Associate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</a:t>
            </a:r>
            <a:r>
              <a:rPr kumimoji="0" lang="fi-FI" sz="155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Professor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 University College Dublin, </a:t>
            </a:r>
            <a:r>
              <a:rPr kumimoji="0" lang="fi-FI" sz="155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Ireland</a:t>
            </a:r>
            <a:endParaRPr kumimoji="0" lang="fi-FI" sz="155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/>
            </a:endParaRP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Professor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</a:t>
            </a: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Geir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</a:t>
            </a: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Øien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(</a:t>
            </a: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vice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</a:t>
            </a: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chair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)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 </a:t>
            </a:r>
            <a:r>
              <a:rPr kumimoji="0" lang="en-US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Norwegian University of Science and Technology (NTNU), </a:t>
            </a:r>
            <a:r>
              <a:rPr kumimoji="0" lang="fi-FI" sz="155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Norway</a:t>
            </a:r>
            <a:endParaRPr kumimoji="0" lang="fi-FI" sz="155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/>
            </a:endParaRP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Student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Mia </a:t>
            </a: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Brzakovic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</a:t>
            </a:r>
            <a:r>
              <a:rPr kumimoji="0" lang="en-US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</a:t>
            </a:r>
            <a:r>
              <a:rPr kumimoji="0" lang="en-US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University of Belgrade and Trinity College Dublin,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Serbia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CEO Mika </a:t>
            </a:r>
            <a:r>
              <a:rPr kumimoji="0" lang="fi-FI" sz="15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Konu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 Technology Centre Merinova, Finland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fi-FI" sz="1575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 charset="0"/>
            </a:endParaRP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Sirpa Moitus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</a:t>
            </a: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</a:t>
            </a:r>
            <a:r>
              <a:rPr kumimoji="0" lang="fi-FI" sz="155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Counsellor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 of Evaluation, FINEEC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Kirsi Mustonen</a:t>
            </a:r>
            <a:r>
              <a:rPr kumimoji="0" lang="fi-FI" sz="15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</a:rPr>
              <a:t>, Senior Advisor, FINEEC</a:t>
            </a: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575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5139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02828F-E570-43ED-8812-4EB070EFF5D0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32" y="359713"/>
            <a:ext cx="8492897" cy="999574"/>
          </a:xfrm>
        </p:spPr>
        <p:txBody>
          <a:bodyPr/>
          <a:lstStyle/>
          <a:p>
            <a:r>
              <a:rPr lang="en-US" dirty="0"/>
              <a:t>Auditors</a:t>
            </a:r>
          </a:p>
          <a:p>
            <a:endParaRPr lang="en-US" dirty="0"/>
          </a:p>
          <a:p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F6C812-AD37-48F9-BFC8-E077DE0BD4CC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438328" y="1120757"/>
            <a:ext cx="8052529" cy="2736628"/>
          </a:xfrm>
          <a:ln>
            <a:solidFill>
              <a:schemeClr val="accent1"/>
            </a:solidFill>
          </a:ln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have been trained for their role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see us through written material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may have decided internal roles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have a priori understanding on u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may have pre-prepared drafts for their report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The purpose of audit visit is to verify and supplement the observations </a:t>
            </a:r>
          </a:p>
          <a:p>
            <a:pPr>
              <a:lnSpc>
                <a:spcPct val="100000"/>
              </a:lnSpc>
            </a:pPr>
            <a:r>
              <a:rPr lang="en-US" sz="1800" b="0" dirty="0"/>
              <a:t>      made on the basis of the audit material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0487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02828F-E570-43ED-8812-4EB070EFF5D0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 anchor="ctr"/>
          <a:lstStyle/>
          <a:p>
            <a:r>
              <a:rPr lang="en-US"/>
              <a:t>Auditor perspectiv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F6C812-AD37-48F9-BFC8-E077DE0BD4CC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292332" y="971309"/>
            <a:ext cx="8424949" cy="3362485"/>
          </a:xfrm>
          <a:ln>
            <a:solidFill>
              <a:schemeClr val="accent1"/>
            </a:solidFill>
          </a:ln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en-GB" sz="1450" dirty="0">
                <a:latin typeface="+mj-lt"/>
              </a:rPr>
              <a:t>The auditors need to make sure they understand how the Quality System works – </a:t>
            </a:r>
            <a:r>
              <a:rPr lang="en-GB" sz="1450" b="0" dirty="0">
                <a:latin typeface="+mj-lt"/>
              </a:rPr>
              <a:t>As a whole / At all levels / At all unit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en-GB" sz="1450" dirty="0">
                <a:latin typeface="+mj-lt"/>
              </a:rPr>
              <a:t>They need to find </a:t>
            </a:r>
            <a:r>
              <a:rPr lang="en-GB" sz="1450" i="1" dirty="0">
                <a:latin typeface="+mj-lt"/>
              </a:rPr>
              <a:t>evidence</a:t>
            </a:r>
            <a:r>
              <a:rPr lang="en-GB" sz="1450" dirty="0">
                <a:latin typeface="+mj-lt"/>
              </a:rPr>
              <a:t> for and </a:t>
            </a:r>
            <a:r>
              <a:rPr lang="en-GB" sz="1450" i="1" dirty="0">
                <a:latin typeface="+mj-lt"/>
              </a:rPr>
              <a:t>examples</a:t>
            </a:r>
            <a:r>
              <a:rPr lang="en-GB" sz="1450" dirty="0">
                <a:latin typeface="+mj-lt"/>
              </a:rPr>
              <a:t> of the claims made in the self-evaluation report and other written materials. - </a:t>
            </a:r>
            <a:r>
              <a:rPr lang="en-GB" sz="1450" b="0" dirty="0">
                <a:latin typeface="+mj-lt"/>
              </a:rPr>
              <a:t>Identification of strengths and best practices – but also development needs and gaps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en-GB" sz="1450" dirty="0">
                <a:latin typeface="+mj-lt"/>
              </a:rPr>
              <a:t>The audit team will typically ask</a:t>
            </a:r>
          </a:p>
          <a:p>
            <a:pPr marL="808038" lvl="1" indent="-182563">
              <a:buFont typeface="Arial" panose="020B0604020202020204" pitchFamily="34" charset="0"/>
              <a:buChar char="‒"/>
            </a:pPr>
            <a:r>
              <a:rPr lang="en-GB" sz="1450" dirty="0">
                <a:latin typeface="+mj-lt"/>
              </a:rPr>
              <a:t>how are things done and processes developed</a:t>
            </a:r>
          </a:p>
          <a:p>
            <a:pPr marL="808038" lvl="1" indent="-182563">
              <a:buFont typeface="Arial" panose="020B0604020202020204" pitchFamily="34" charset="0"/>
              <a:buChar char="‒"/>
            </a:pPr>
            <a:r>
              <a:rPr lang="en-GB" sz="1450" dirty="0">
                <a:latin typeface="+mj-lt"/>
              </a:rPr>
              <a:t>how do we know that something works/doesn’t work</a:t>
            </a:r>
          </a:p>
          <a:p>
            <a:pPr marL="808038" lvl="1" indent="-182563">
              <a:buFont typeface="Arial" panose="020B0604020202020204" pitchFamily="34" charset="0"/>
              <a:buChar char="‒"/>
            </a:pPr>
            <a:r>
              <a:rPr lang="en-GB" sz="1450" dirty="0">
                <a:latin typeface="+mj-lt"/>
              </a:rPr>
              <a:t>for examples</a:t>
            </a:r>
            <a:br>
              <a:rPr lang="en-GB" sz="1450" dirty="0">
                <a:latin typeface="+mj-lt"/>
              </a:rPr>
            </a:br>
            <a:endParaRPr lang="en-GB" sz="800" dirty="0">
              <a:latin typeface="+mj-lt"/>
            </a:endParaRP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sz="1450" b="1" dirty="0">
                <a:latin typeface="+mj-lt"/>
                <a:ea typeface="ＭＳ Ｐゴシック" charset="0"/>
                <a:cs typeface="MS PGothic" pitchFamily="34" charset="-128"/>
              </a:rPr>
              <a:t>In other words, they aim to find out about the quality assurance </a:t>
            </a:r>
            <a:r>
              <a:rPr lang="en-GB" sz="1450" b="1" i="1" dirty="0">
                <a:latin typeface="+mj-lt"/>
                <a:ea typeface="ＭＳ Ｐゴシック" charset="0"/>
                <a:cs typeface="MS PGothic" pitchFamily="34" charset="-128"/>
              </a:rPr>
              <a:t>mechanisms</a:t>
            </a:r>
            <a:r>
              <a:rPr lang="en-GB" sz="1450" b="1" dirty="0">
                <a:latin typeface="+mj-lt"/>
                <a:ea typeface="ＭＳ Ｐゴシック" charset="0"/>
                <a:cs typeface="MS PGothic" pitchFamily="34" charset="-128"/>
              </a:rPr>
              <a:t> and the level of </a:t>
            </a:r>
            <a:r>
              <a:rPr lang="en-GB" sz="1450" b="1" i="1" dirty="0">
                <a:latin typeface="+mj-lt"/>
                <a:ea typeface="ＭＳ Ｐゴシック" charset="0"/>
                <a:cs typeface="MS PGothic" pitchFamily="34" charset="-128"/>
              </a:rPr>
              <a:t>systematisation</a:t>
            </a:r>
            <a:r>
              <a:rPr lang="en-GB" sz="1450" b="1" dirty="0">
                <a:latin typeface="+mj-lt"/>
                <a:ea typeface="ＭＳ Ｐゴシック" charset="0"/>
                <a:cs typeface="MS PGothic" pitchFamily="34" charset="-128"/>
              </a:rPr>
              <a:t>.</a:t>
            </a:r>
            <a:endParaRPr lang="en-GB" sz="1450" dirty="0"/>
          </a:p>
        </p:txBody>
      </p:sp>
    </p:spTree>
    <p:extLst>
      <p:ext uri="{BB962C8B-B14F-4D97-AF65-F5344CB8AC3E}">
        <p14:creationId xmlns:p14="http://schemas.microsoft.com/office/powerpoint/2010/main" val="2627835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2C2A569D-96F7-5B4E-A635-B22EDF8DB47A}"/>
              </a:ext>
            </a:extLst>
          </p:cNvPr>
          <p:cNvSpPr txBox="1">
            <a:spLocks/>
          </p:cNvSpPr>
          <p:nvPr/>
        </p:nvSpPr>
        <p:spPr>
          <a:xfrm>
            <a:off x="397406" y="2764386"/>
            <a:ext cx="494587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411480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440" i="1" kern="1200">
                <a:solidFill>
                  <a:schemeClr val="bg1"/>
                </a:solidFill>
                <a:latin typeface="Georgia"/>
                <a:ea typeface="ＭＳ Ｐゴシック" charset="0"/>
                <a:cs typeface="Georgia"/>
              </a:defRPr>
            </a:lvl1pPr>
            <a:lvl2pPr marL="41148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520" kern="1200">
                <a:solidFill>
                  <a:schemeClr val="tx1">
                    <a:tint val="75000"/>
                  </a:schemeClr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82296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6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23444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164592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05740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46888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88036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184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148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84AC8-C7A8-421B-9687-B3DB8825BEA8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97406" y="28438"/>
            <a:ext cx="8590477" cy="999574"/>
          </a:xfrm>
        </p:spPr>
        <p:txBody>
          <a:bodyPr lIns="0" tIns="0" rIns="0" bIns="0" anchor="ctr"/>
          <a:lstStyle/>
          <a:p>
            <a:r>
              <a:rPr lang="en-US" sz="2800"/>
              <a:t>How to prepare for the interviews and workshops?</a:t>
            </a:r>
            <a:endParaRPr lang="fi-FI" sz="2800"/>
          </a:p>
        </p:txBody>
      </p:sp>
      <p:sp>
        <p:nvSpPr>
          <p:cNvPr id="9" name="Sisällön paikkamerkki 2">
            <a:extLst>
              <a:ext uri="{FF2B5EF4-FFF2-40B4-BE49-F238E27FC236}">
                <a16:creationId xmlns:a16="http://schemas.microsoft.com/office/drawing/2014/main" id="{A9D0E6F3-C1D3-44B2-90CE-3132E0389478}"/>
              </a:ext>
            </a:extLst>
          </p:cNvPr>
          <p:cNvSpPr txBox="1">
            <a:spLocks/>
          </p:cNvSpPr>
          <p:nvPr/>
        </p:nvSpPr>
        <p:spPr>
          <a:xfrm>
            <a:off x="397406" y="918712"/>
            <a:ext cx="6880394" cy="3564078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marR="0" lvl="0" indent="-257175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audit team is interested in daily activities of the university and its quality management and development.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interviews are confidential.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views and workshops are not exams or testing sessions.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e are no wrong answers.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e is no need to </a:t>
            </a:r>
            <a:r>
              <a:rPr kumimoji="0" lang="en-US" sz="13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morise</a:t>
            </a: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cuments related to the quality system and development.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e is no need to bring material to the interviews.</a:t>
            </a:r>
          </a:p>
          <a:p>
            <a:pPr marL="249238" marR="0" lvl="1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57175" marR="0" lvl="0" indent="-257175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interviews and workshops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anything is unclear in the interview, please ask for clarification.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interviews, you may answer in your own style and from the perspective of your own position.</a:t>
            </a:r>
          </a:p>
          <a:p>
            <a:pPr marL="534988" marR="0" lvl="1" indent="-19685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interview sessions have tight schedule, and you are advised to keep your answers short and to the point.</a:t>
            </a:r>
            <a:endParaRPr kumimoji="0" lang="fi-FI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5088A7-8B00-4182-B905-E7D338A466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0971" y="1817939"/>
            <a:ext cx="1765623" cy="1765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9580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02828F-E570-43ED-8812-4EB070EFF5D0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32" y="269936"/>
            <a:ext cx="8732129" cy="841022"/>
          </a:xfrm>
        </p:spPr>
        <p:txBody>
          <a:bodyPr lIns="0" tIns="0" rIns="0" bIns="0" anchor="t"/>
          <a:lstStyle/>
          <a:p>
            <a:r>
              <a:rPr lang="en-GB" sz="2400" dirty="0">
                <a:ea typeface="ＭＳ Ｐゴシック"/>
              </a:rPr>
              <a:t>Example questions: </a:t>
            </a:r>
            <a:r>
              <a:rPr lang="en-GB" sz="2400" b="0" dirty="0">
                <a:ea typeface="ＭＳ Ｐゴシック"/>
              </a:rPr>
              <a:t>management practices of the department / school / university</a:t>
            </a:r>
            <a:r>
              <a:rPr lang="fi-FI" sz="2400" b="0" dirty="0">
                <a:ea typeface="ＭＳ Ｐゴシック"/>
              </a:rPr>
              <a:t>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F6C812-AD37-48F9-BFC8-E077DE0BD4CC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325551" y="1314734"/>
            <a:ext cx="8492897" cy="3384209"/>
          </a:xfrm>
          <a:ln w="12700">
            <a:solidFill>
              <a:srgbClr val="FFCD00"/>
            </a:solidFill>
          </a:ln>
        </p:spPr>
        <p:txBody>
          <a:bodyPr lIns="0" tIns="0" rIns="0" bIns="0" anchor="t"/>
          <a:lstStyle/>
          <a:p>
            <a:pPr marL="266700" indent="-177800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ea typeface="ＭＳ Ｐゴシック"/>
              </a:rPr>
              <a:t>How do you set the goals for the education / research / impact / services ? Planning of actions.</a:t>
            </a:r>
          </a:p>
          <a:p>
            <a:pPr marL="266700" indent="-177800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ea typeface="ＭＳ Ｐゴシック" pitchFamily="34" charset="-128"/>
              </a:rPr>
              <a:t>How do you follow the execution of the (strategic) plans, and review the KPI’s?</a:t>
            </a:r>
          </a:p>
          <a:p>
            <a:pPr marL="266700" indent="-177800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ea typeface="ＭＳ Ｐゴシック" pitchFamily="34" charset="-128"/>
              </a:rPr>
              <a:t>How do you evaluate / review education / research / impact  activities, services supporting it, and management/leadership within the department/school/university? </a:t>
            </a:r>
          </a:p>
          <a:p>
            <a:pPr marL="266700" indent="-177800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ea typeface="ＭＳ Ｐゴシック"/>
              </a:rPr>
              <a:t>How do you develop different activities / operations within the department / school / university? </a:t>
            </a:r>
            <a:r>
              <a:rPr lang="en-US" sz="1400" b="0" dirty="0" err="1">
                <a:ea typeface="ＭＳ Ｐゴシック"/>
              </a:rPr>
              <a:t>Utilisation</a:t>
            </a:r>
            <a:r>
              <a:rPr lang="en-US" sz="1400" b="0" dirty="0">
                <a:ea typeface="ＭＳ Ｐゴシック"/>
              </a:rPr>
              <a:t> of evaluation results and feedback from students, staff, stakeholders.</a:t>
            </a:r>
          </a:p>
          <a:p>
            <a:pPr marL="266700" indent="-177800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ea typeface="ＭＳ Ｐゴシック"/>
              </a:rPr>
              <a:t>How is </a:t>
            </a:r>
            <a:r>
              <a:rPr lang="en-US" sz="1400" b="0" dirty="0" err="1">
                <a:ea typeface="ＭＳ Ｐゴシック"/>
              </a:rPr>
              <a:t>multidisciplinarity</a:t>
            </a:r>
            <a:r>
              <a:rPr lang="en-US" sz="1400" b="0" dirty="0">
                <a:ea typeface="ＭＳ Ｐゴシック"/>
              </a:rPr>
              <a:t> embedded in Aalto's education / research / impact activities ?</a:t>
            </a:r>
          </a:p>
          <a:p>
            <a:pPr marL="266700" indent="-177800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ea typeface="ＭＳ Ｐゴシック" pitchFamily="34" charset="-128"/>
              </a:rPr>
              <a:t>How are different personnel groups, students and external stakeholders participating in the development of the activities ?</a:t>
            </a:r>
          </a:p>
          <a:p>
            <a:pPr marL="266700" indent="-177800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ea typeface="ＭＳ Ｐゴシック" pitchFamily="34" charset="-128"/>
              </a:rPr>
              <a:t>How do you keep all actors appropriately informed?</a:t>
            </a:r>
          </a:p>
        </p:txBody>
      </p:sp>
    </p:spTree>
    <p:extLst>
      <p:ext uri="{BB962C8B-B14F-4D97-AF65-F5344CB8AC3E}">
        <p14:creationId xmlns:p14="http://schemas.microsoft.com/office/powerpoint/2010/main" val="1445034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DE47B8-A916-44F2-BF89-234E12351852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 anchor="ctr"/>
          <a:lstStyle/>
          <a:p>
            <a:r>
              <a:rPr lang="en-US" sz="3200"/>
              <a:t>Materials submitted to FINEEC</a:t>
            </a:r>
            <a:endParaRPr lang="fi-FI" sz="32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D08752-49E4-40FE-B82A-E098A8EF78FF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292331" y="1211766"/>
            <a:ext cx="8492897" cy="3218985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00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lf-evaluation </a:t>
            </a:r>
            <a:r>
              <a:rPr lang="en-US" sz="1600" b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rt</a:t>
            </a:r>
            <a:endParaRPr lang="fi-FI" sz="1600"/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/>
              <a:t>͘</a:t>
            </a:r>
            <a:r>
              <a:rPr lang="en-US" sz="1600" b="0"/>
              <a:t>Overall </a:t>
            </a:r>
            <a:r>
              <a:rPr lang="en-US" sz="1600" b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ategy</a:t>
            </a:r>
            <a:r>
              <a:rPr lang="en-US" sz="1600" b="0"/>
              <a:t> of the university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/>
              <a:t>͘Quality manual - </a:t>
            </a:r>
            <a:r>
              <a:rPr lang="en-US" sz="1600" b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alto Handbook</a:t>
            </a:r>
            <a:endParaRPr lang="en-US" sz="1600" b="0"/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/>
              <a:t>An </a:t>
            </a:r>
            <a:r>
              <a:rPr lang="en-US" sz="1600" b="0" err="1"/>
              <a:t>organisation</a:t>
            </a:r>
            <a:r>
              <a:rPr lang="en-US" sz="1600" b="0"/>
              <a:t> chart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i="0" u="sng" strike="noStrike">
                <a:solidFill>
                  <a:srgbClr val="000000"/>
                </a:solidFill>
                <a:effectLst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curricula of degree </a:t>
            </a:r>
            <a:r>
              <a:rPr lang="en-US" sz="1600" b="0" i="0" u="sng" strike="noStrike" err="1">
                <a:effectLst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grammes</a:t>
            </a:r>
            <a:endParaRPr lang="en-US" sz="1600" b="0" u="sng" strike="noStrike"/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i="0" u="sng" strike="noStrike">
                <a:effectLst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L instructions</a:t>
            </a:r>
            <a:r>
              <a:rPr lang="en-US" sz="1600" b="0" i="0">
                <a:effectLst/>
              </a:rPr>
              <a:t> 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i="0" u="sng" strike="noStrike">
                <a:effectLst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ality, Diversity and Inclusion plan 2022-2024</a:t>
            </a:r>
            <a:r>
              <a:rPr lang="en-US" sz="1600" b="0" i="0">
                <a:effectLst/>
              </a:rPr>
              <a:t>  </a:t>
            </a:r>
            <a:endParaRPr lang="en-US" sz="1600" b="0"/>
          </a:p>
        </p:txBody>
      </p:sp>
    </p:spTree>
    <p:extLst>
      <p:ext uri="{BB962C8B-B14F-4D97-AF65-F5344CB8AC3E}">
        <p14:creationId xmlns:p14="http://schemas.microsoft.com/office/powerpoint/2010/main" val="12653977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02828F-E570-43ED-8812-4EB070EFF5D0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26525" y="135573"/>
            <a:ext cx="8492897" cy="507146"/>
          </a:xfrm>
        </p:spPr>
        <p:txBody>
          <a:bodyPr/>
          <a:lstStyle/>
          <a:p>
            <a:r>
              <a:rPr lang="en-US" dirty="0"/>
              <a:t>Finally</a:t>
            </a:r>
            <a:endParaRPr lang="fi-FI" dirty="0"/>
          </a:p>
          <a:p>
            <a:endParaRPr lang="fi-FI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D91C24-A8AC-48C1-8E59-86C9738CC6BF}"/>
              </a:ext>
            </a:extLst>
          </p:cNvPr>
          <p:cNvSpPr/>
          <p:nvPr/>
        </p:nvSpPr>
        <p:spPr>
          <a:xfrm>
            <a:off x="207469" y="4510937"/>
            <a:ext cx="1567544" cy="5071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F6C812-AD37-48F9-BFC8-E077DE0BD4CC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526525" y="720343"/>
            <a:ext cx="7872124" cy="4195242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GB" sz="1600" dirty="0"/>
              <a:t>When possible, try to contextualise your answer in terms of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en-GB" sz="1600" dirty="0"/>
              <a:t>The PDCA cycle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en-GB" sz="1600" dirty="0"/>
              <a:t>The annual planning/management cycle</a:t>
            </a:r>
          </a:p>
          <a:p>
            <a:r>
              <a:rPr lang="en-GB" sz="1600" dirty="0"/>
              <a:t>This should, however, sound natural …</a:t>
            </a:r>
          </a:p>
          <a:p>
            <a:endParaRPr lang="en-GB" sz="1600" b="1" dirty="0">
              <a:latin typeface="+mj-lt"/>
              <a:ea typeface="ＭＳ Ｐゴシック" charset="0"/>
              <a:cs typeface="MS PGothic" pitchFamily="34" charset="-128"/>
            </a:endParaRPr>
          </a:p>
          <a:p>
            <a:r>
              <a:rPr lang="en-GB" sz="1600" dirty="0"/>
              <a:t>Remember, this is an enhancement-led exercise.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en-GB" sz="1600" dirty="0"/>
              <a:t>The auditors are not trying to find out whether the interviewees know the right answers.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en-GB" sz="1600" dirty="0"/>
              <a:t>The auditors try to find out how things are done in order to help Aalto University to develop the quality system further. </a:t>
            </a:r>
          </a:p>
          <a:p>
            <a:pPr lvl="1" indent="0">
              <a:buNone/>
            </a:pPr>
            <a:endParaRPr lang="en-GB" sz="1600" dirty="0">
              <a:latin typeface="+mj-lt"/>
              <a:ea typeface="ＭＳ Ｐゴシック" charset="0"/>
              <a:cs typeface="MS PGothic" pitchFamily="34" charset="-128"/>
            </a:endParaRPr>
          </a:p>
          <a:p>
            <a:pPr marL="0" lvl="1" indent="0">
              <a:buNone/>
            </a:pPr>
            <a:r>
              <a:rPr lang="en-GB" sz="1600" b="1" dirty="0">
                <a:latin typeface="+mj-lt"/>
                <a:ea typeface="ＭＳ Ｐゴシック" charset="0"/>
                <a:cs typeface="MS PGothic" pitchFamily="34" charset="-128"/>
              </a:rPr>
              <a:t>(Also) the auditors are nervous.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en-GB" sz="1600" dirty="0"/>
              <a:t>The auditors are desperate to find evidence and examples and will be very grateful for any help.</a:t>
            </a:r>
          </a:p>
        </p:txBody>
      </p:sp>
    </p:spTree>
    <p:extLst>
      <p:ext uri="{BB962C8B-B14F-4D97-AF65-F5344CB8AC3E}">
        <p14:creationId xmlns:p14="http://schemas.microsoft.com/office/powerpoint/2010/main" val="37529333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A4A8BC-2E4F-4839-8AE6-8B5E3C93F76B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880" y="193287"/>
            <a:ext cx="8486847" cy="849961"/>
          </a:xfrm>
        </p:spPr>
        <p:txBody>
          <a:bodyPr/>
          <a:lstStyle/>
          <a:p>
            <a:r>
              <a:rPr lang="en-US" sz="3600"/>
              <a:t>Interview practicalities</a:t>
            </a:r>
            <a:endParaRPr lang="fi-FI" sz="36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D3A82-1415-442A-B833-FBC85876BD6F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405713" y="1081258"/>
            <a:ext cx="4769774" cy="3077735"/>
          </a:xfrm>
        </p:spPr>
        <p:txBody>
          <a:bodyPr lIns="0" tIns="0" rIns="0" bIns="0" anchor="t"/>
          <a:lstStyle/>
          <a:p>
            <a:pPr marL="257175" indent="-2571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Audit visit takes place 25.-26.1. – all interviews at Dipoli</a:t>
            </a:r>
          </a:p>
          <a:p>
            <a:pPr marL="257175" indent="-2571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The interview group get together 10 minutes before the audit discussion – Dipoli, first floor</a:t>
            </a:r>
          </a:p>
          <a:p>
            <a:pPr marL="257175" indent="-2571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After interview a short feedback/debriefing session in café room</a:t>
            </a:r>
          </a:p>
          <a:p>
            <a:pPr marL="257175" indent="-257175">
              <a:spcBef>
                <a:spcPts val="600"/>
              </a:spcBef>
              <a:spcAft>
                <a:spcPts val="600"/>
              </a:spcAft>
            </a:pPr>
            <a:r>
              <a:rPr lang="en-US" sz="1600" b="0" dirty="0"/>
              <a:t>In case of force majeure (e.g. sickness), please send text message to Iina (0504420722) or Kirsi (0503841707)</a:t>
            </a:r>
          </a:p>
          <a:p>
            <a:pPr marL="257175" indent="-2571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Audit result public after FINEEC meeting in April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sz="1400" b="0" dirty="0"/>
          </a:p>
          <a:p>
            <a:endParaRPr lang="fi-FI" sz="14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2A8B65-D5CF-40E7-8EC0-26F1D1D394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320" y="1043249"/>
            <a:ext cx="3153754" cy="3153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041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38BDE5-F377-42C6-A217-E73FFE2820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i-FI"/>
          </a:p>
          <a:p>
            <a:endParaRPr lang="fi-FI"/>
          </a:p>
          <a:p>
            <a:r>
              <a:rPr lang="fi-FI" err="1"/>
              <a:t>Background</a:t>
            </a:r>
            <a:r>
              <a:rPr lang="fi-FI"/>
              <a:t> </a:t>
            </a:r>
          </a:p>
          <a:p>
            <a:r>
              <a:rPr lang="fi-FI" err="1"/>
              <a:t>information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175624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51C4DCF-8753-3B49-855E-C653ADD878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57" y="116308"/>
            <a:ext cx="7852700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05879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84AC8-C7A8-421B-9687-B3DB8825BEA8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822273" y="28438"/>
            <a:ext cx="7556009" cy="999574"/>
          </a:xfrm>
        </p:spPr>
        <p:txBody>
          <a:bodyPr lIns="0" tIns="0" rIns="0" bIns="0" anchor="ctr"/>
          <a:lstStyle/>
          <a:p>
            <a:r>
              <a:rPr lang="en-US" sz="2800">
                <a:solidFill>
                  <a:schemeClr val="accent1"/>
                </a:solidFill>
                <a:ea typeface="ＭＳ Ｐゴシック"/>
              </a:rPr>
              <a:t>Purpose of the quality audit</a:t>
            </a:r>
            <a:endParaRPr lang="fi-FI" sz="2800"/>
          </a:p>
        </p:txBody>
      </p:sp>
      <p:sp>
        <p:nvSpPr>
          <p:cNvPr id="4" name="Tekstiruutu 7">
            <a:extLst>
              <a:ext uri="{FF2B5EF4-FFF2-40B4-BE49-F238E27FC236}">
                <a16:creationId xmlns:a16="http://schemas.microsoft.com/office/drawing/2014/main" id="{CE078A1F-953E-4918-9E31-472320113301}"/>
              </a:ext>
            </a:extLst>
          </p:cNvPr>
          <p:cNvSpPr txBox="1"/>
          <p:nvPr/>
        </p:nvSpPr>
        <p:spPr>
          <a:xfrm>
            <a:off x="822274" y="973874"/>
            <a:ext cx="1549219" cy="310747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>
            <a:normAutofit/>
          </a:bodyPr>
          <a:lstStyle/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charset="0"/>
              <a:cs typeface="Calibri" panose="020F0502020204030204" pitchFamily="34" charset="0"/>
            </a:endParaRP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Calibri" panose="020F0502020204030204" pitchFamily="34" charset="0"/>
              </a:rPr>
              <a:t>Ensure</a:t>
            </a: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charset="0"/>
              <a:cs typeface="Calibri" panose="020F0502020204030204" pitchFamily="34" charset="0"/>
            </a:endParaRP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Calibri" panose="020F0502020204030204" pitchFamily="34" charset="0"/>
              </a:rPr>
              <a:t>Monitor</a:t>
            </a: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charset="0"/>
              <a:cs typeface="Calibri" panose="020F0502020204030204" pitchFamily="34" charset="0"/>
            </a:endParaRP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Calibri" panose="020F0502020204030204" pitchFamily="34" charset="0"/>
              </a:rPr>
              <a:t>Use</a:t>
            </a: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charset="0"/>
              <a:cs typeface="Calibri" panose="020F0502020204030204" pitchFamily="34" charset="0"/>
            </a:endParaRP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Calibri" panose="020F0502020204030204" pitchFamily="34" charset="0"/>
              </a:rPr>
              <a:t>Support</a:t>
            </a: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charset="0"/>
              <a:cs typeface="Calibri" panose="020F0502020204030204" pitchFamily="34" charset="0"/>
            </a:endParaRP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Calibri" panose="020F0502020204030204" pitchFamily="34" charset="0"/>
              </a:rPr>
              <a:t>Promote </a:t>
            </a: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charset="0"/>
              <a:cs typeface="Calibri" panose="020F0502020204030204" pitchFamily="34" charset="0"/>
            </a:endParaRPr>
          </a:p>
          <a:p>
            <a:pPr marL="268288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Calibri" panose="020F0502020204030204" pitchFamily="34" charset="0"/>
              </a:rPr>
              <a:t>Enhance</a:t>
            </a:r>
          </a:p>
        </p:txBody>
      </p:sp>
      <p:sp>
        <p:nvSpPr>
          <p:cNvPr id="9" name="Suorakulmio 6">
            <a:extLst>
              <a:ext uri="{FF2B5EF4-FFF2-40B4-BE49-F238E27FC236}">
                <a16:creationId xmlns:a16="http://schemas.microsoft.com/office/drawing/2014/main" id="{24623CF5-66D2-4E6A-828C-C5CDC6754522}"/>
              </a:ext>
            </a:extLst>
          </p:cNvPr>
          <p:cNvSpPr/>
          <p:nvPr/>
        </p:nvSpPr>
        <p:spPr>
          <a:xfrm>
            <a:off x="2512741" y="973874"/>
            <a:ext cx="5865541" cy="3107472"/>
          </a:xfrm>
          <a:prstGeom prst="rect">
            <a:avLst/>
          </a:prstGeom>
          <a:solidFill>
            <a:srgbClr val="FFC000">
              <a:alpha val="80000"/>
            </a:srgbClr>
          </a:solidFill>
        </p:spPr>
        <p:txBody>
          <a:bodyPr wrap="square">
            <a:normAutofit/>
          </a:bodyPr>
          <a:lstStyle/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ain focus is on how the Aalto University improves and enhances its activities</a:t>
            </a:r>
          </a:p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Th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functionality and effectiveness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of the quality systems of HEIs is assessed.</a:t>
            </a:r>
          </a:p>
          <a:p>
            <a:pPr marL="534988" marR="0" lvl="1" indent="-192088" algn="l" defTabSz="3429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With respect to FINEEC criteria</a:t>
            </a:r>
          </a:p>
          <a:p>
            <a:pPr marL="534988" marR="0" lvl="1" indent="-192088" algn="l" defTabSz="3429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With respect to Aalto strategy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</a:b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The focus of the audit is on th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procedure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 used by the Aalto University to maintain and enhance the quality of its activitie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B9F2D8B-A061-488E-9CBF-C8E1C0F5E0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0903" y="377377"/>
            <a:ext cx="1861152" cy="437131"/>
          </a:xfrm>
          <a:prstGeom prst="rect">
            <a:avLst/>
          </a:prstGeom>
          <a:ln>
            <a:solidFill>
              <a:srgbClr val="00B0F0"/>
            </a:solidFill>
          </a:ln>
        </p:spPr>
      </p:pic>
    </p:spTree>
    <p:extLst>
      <p:ext uri="{BB962C8B-B14F-4D97-AF65-F5344CB8AC3E}">
        <p14:creationId xmlns:p14="http://schemas.microsoft.com/office/powerpoint/2010/main" val="11877121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3FDDA1F-BEE0-74DD-0901-97402B9C4F00}"/>
              </a:ext>
            </a:extLst>
          </p:cNvPr>
          <p:cNvSpPr/>
          <p:nvPr/>
        </p:nvSpPr>
        <p:spPr>
          <a:xfrm>
            <a:off x="0" y="0"/>
            <a:ext cx="9150050" cy="51516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D9C1730-FF35-647F-86E1-B340DDAF6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50" y="4274631"/>
            <a:ext cx="2066135" cy="87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F874C87-7EAF-E949-B859-17DCAC59BDDD}"/>
              </a:ext>
            </a:extLst>
          </p:cNvPr>
          <p:cNvSpPr txBox="1"/>
          <p:nvPr/>
        </p:nvSpPr>
        <p:spPr>
          <a:xfrm>
            <a:off x="287338" y="219043"/>
            <a:ext cx="542142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Quality system in our daily activiti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6DE845-3FA2-9E45-AC43-ED3BB2B0EEB8}"/>
              </a:ext>
            </a:extLst>
          </p:cNvPr>
          <p:cNvSpPr/>
          <p:nvPr/>
        </p:nvSpPr>
        <p:spPr>
          <a:xfrm>
            <a:off x="3411381" y="834692"/>
            <a:ext cx="5051641" cy="364205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21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262629B-023E-FA43-8FFB-F99BB47D3F01}"/>
              </a:ext>
            </a:extLst>
          </p:cNvPr>
          <p:cNvSpPr/>
          <p:nvPr/>
        </p:nvSpPr>
        <p:spPr>
          <a:xfrm>
            <a:off x="1788457" y="834692"/>
            <a:ext cx="1451966" cy="19124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21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C8758B7-3BE6-0C4D-85E6-7D60AFE8605E}"/>
              </a:ext>
            </a:extLst>
          </p:cNvPr>
          <p:cNvSpPr/>
          <p:nvPr/>
        </p:nvSpPr>
        <p:spPr>
          <a:xfrm>
            <a:off x="1788457" y="2820587"/>
            <a:ext cx="1451966" cy="16394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21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39824A-F34C-7E4C-97E8-CF77E5410AD2}"/>
              </a:ext>
            </a:extLst>
          </p:cNvPr>
          <p:cNvSpPr/>
          <p:nvPr/>
        </p:nvSpPr>
        <p:spPr>
          <a:xfrm>
            <a:off x="212982" y="834692"/>
            <a:ext cx="1451966" cy="19124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21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C8DCD6E-1B1A-F449-AF40-B623CD3A5A59}"/>
              </a:ext>
            </a:extLst>
          </p:cNvPr>
          <p:cNvSpPr/>
          <p:nvPr/>
        </p:nvSpPr>
        <p:spPr>
          <a:xfrm>
            <a:off x="212982" y="2820587"/>
            <a:ext cx="1451966" cy="16394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21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9F5245-0C64-D146-8058-7BE31B21B04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6043" r="11528" b="-1070"/>
          <a:stretch/>
        </p:blipFill>
        <p:spPr>
          <a:xfrm>
            <a:off x="255117" y="1969327"/>
            <a:ext cx="1289495" cy="6987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2EC4CB-8425-DE4E-8B45-CF53275D63C9}"/>
              </a:ext>
            </a:extLst>
          </p:cNvPr>
          <p:cNvSpPr txBox="1"/>
          <p:nvPr/>
        </p:nvSpPr>
        <p:spPr>
          <a:xfrm>
            <a:off x="3563770" y="941364"/>
            <a:ext cx="2003894" cy="2338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4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WHY</a:t>
            </a:r>
            <a:endParaRPr kumimoji="0" lang="en-FI" sz="144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F53883-26EC-2745-B613-383CC32BB8D1}"/>
              </a:ext>
            </a:extLst>
          </p:cNvPr>
          <p:cNvSpPr txBox="1"/>
          <p:nvPr/>
        </p:nvSpPr>
        <p:spPr>
          <a:xfrm>
            <a:off x="1917986" y="941364"/>
            <a:ext cx="571451" cy="2338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WH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BF4A46-8E86-4B4F-9144-EA0E6CA7F7DE}"/>
              </a:ext>
            </a:extLst>
          </p:cNvPr>
          <p:cNvSpPr txBox="1"/>
          <p:nvPr/>
        </p:nvSpPr>
        <p:spPr>
          <a:xfrm>
            <a:off x="306965" y="941364"/>
            <a:ext cx="571451" cy="2338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WH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9F9DDB-0859-9941-9FB1-72B35D6AEF7C}"/>
              </a:ext>
            </a:extLst>
          </p:cNvPr>
          <p:cNvSpPr txBox="1"/>
          <p:nvPr/>
        </p:nvSpPr>
        <p:spPr>
          <a:xfrm>
            <a:off x="1917986" y="2890423"/>
            <a:ext cx="571451" cy="2338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HO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B96C40-E964-8746-9945-EDD29AC4951D}"/>
              </a:ext>
            </a:extLst>
          </p:cNvPr>
          <p:cNvSpPr txBox="1"/>
          <p:nvPr/>
        </p:nvSpPr>
        <p:spPr>
          <a:xfrm>
            <a:off x="317919" y="2890423"/>
            <a:ext cx="662883" cy="2338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WH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618721-E435-6649-93F3-3A050B4E849C}"/>
              </a:ext>
            </a:extLst>
          </p:cNvPr>
          <p:cNvSpPr txBox="1"/>
          <p:nvPr/>
        </p:nvSpPr>
        <p:spPr>
          <a:xfrm>
            <a:off x="321729" y="1385904"/>
            <a:ext cx="1135285" cy="438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Strategy and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Our pla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44FED5-50C8-9446-BC40-78D20EFCC7A9}"/>
              </a:ext>
            </a:extLst>
          </p:cNvPr>
          <p:cNvSpPr txBox="1"/>
          <p:nvPr/>
        </p:nvSpPr>
        <p:spPr>
          <a:xfrm>
            <a:off x="1929416" y="1286851"/>
            <a:ext cx="1135285" cy="7016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Organisation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&amp; processes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(roles, responsibilities, reporting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52A0F42-E3B8-4747-8826-B9A4BAC7CF70}"/>
              </a:ext>
            </a:extLst>
          </p:cNvPr>
          <p:cNvSpPr txBox="1"/>
          <p:nvPr/>
        </p:nvSpPr>
        <p:spPr>
          <a:xfrm>
            <a:off x="321729" y="3272219"/>
            <a:ext cx="1135285" cy="4970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Annual clock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(meetings, annual processe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312AE4-7CA1-CB4A-A746-A16AAABFEA6F}"/>
              </a:ext>
            </a:extLst>
          </p:cNvPr>
          <p:cNvSpPr txBox="1"/>
          <p:nvPr/>
        </p:nvSpPr>
        <p:spPr>
          <a:xfrm>
            <a:off x="1929415" y="3182155"/>
            <a:ext cx="1268624" cy="730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Information &amp; documentation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(Aalto handbook, aalto.fi, code of conduct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4FD229-0D04-1749-821B-9E322EF4EA98}"/>
              </a:ext>
            </a:extLst>
          </p:cNvPr>
          <p:cNvSpPr txBox="1"/>
          <p:nvPr/>
        </p:nvSpPr>
        <p:spPr>
          <a:xfrm>
            <a:off x="5182884" y="1758832"/>
            <a:ext cx="2221044" cy="540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Feedback &amp; follow-up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94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(KPI’s, feedback surveys, development actions, milestones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BC3EB44-3E47-F549-8351-57E6D323BB5D}"/>
              </a:ext>
            </a:extLst>
          </p:cNvPr>
          <p:cNvSpPr txBox="1"/>
          <p:nvPr/>
        </p:nvSpPr>
        <p:spPr>
          <a:xfrm>
            <a:off x="3552340" y="2696014"/>
            <a:ext cx="2221044" cy="6212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Long term evaluation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programme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94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(RAI, TEE, S(A)AB, AUDIT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60858D5-EE48-EF46-9266-0F86E2A6EDC0}"/>
              </a:ext>
            </a:extLst>
          </p:cNvPr>
          <p:cNvSpPr txBox="1"/>
          <p:nvPr/>
        </p:nvSpPr>
        <p:spPr>
          <a:xfrm>
            <a:off x="4862871" y="3678912"/>
            <a:ext cx="2221044" cy="6212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Personal development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4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and career advancement</a:t>
            </a:r>
          </a:p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94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(Career systems, MyDialogues)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EA3AFE1-4F83-634C-8D02-194C26732E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4039" y="2035461"/>
            <a:ext cx="1112745" cy="6676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BE8FD9E-D904-7E43-B2F7-BFD9728F8F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8469" y="1754267"/>
            <a:ext cx="1141155" cy="59662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94610C6-5EA8-A143-A00D-423DD5CD74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33634" y="3713595"/>
            <a:ext cx="610826" cy="60135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035511D-0BE7-3E42-BDC6-9E918B83A2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8121" y="2949503"/>
            <a:ext cx="2670126" cy="19694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6D27FA4-516D-754C-BD48-DD20063894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6978" y="3849406"/>
            <a:ext cx="524784" cy="540687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66E82933-C468-1246-8463-C278F44260BC}"/>
              </a:ext>
            </a:extLst>
          </p:cNvPr>
          <p:cNvSpPr txBox="1"/>
          <p:nvPr/>
        </p:nvSpPr>
        <p:spPr>
          <a:xfrm>
            <a:off x="1929415" y="4025016"/>
            <a:ext cx="1167370" cy="292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800" b="1" i="0" u="none" strike="noStrike" kern="1200" cap="none" spc="0" normalizeH="0" baseline="0" noProof="0">
                <a:ln>
                  <a:noFill/>
                </a:ln>
                <a:solidFill>
                  <a:srgbClr val="FFCD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aalto.fi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533CF37-E911-7547-8676-49E183D89E8B}"/>
              </a:ext>
            </a:extLst>
          </p:cNvPr>
          <p:cNvCxnSpPr>
            <a:cxnSpLocks/>
          </p:cNvCxnSpPr>
          <p:nvPr/>
        </p:nvCxnSpPr>
        <p:spPr>
          <a:xfrm>
            <a:off x="306964" y="1229362"/>
            <a:ext cx="320014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7A5B1E9-D4A3-514F-B0BD-75C426FBFC61}"/>
              </a:ext>
            </a:extLst>
          </p:cNvPr>
          <p:cNvCxnSpPr>
            <a:cxnSpLocks/>
          </p:cNvCxnSpPr>
          <p:nvPr/>
        </p:nvCxnSpPr>
        <p:spPr>
          <a:xfrm>
            <a:off x="1915246" y="1229362"/>
            <a:ext cx="320014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A0BE7E8-5484-2240-B50A-7B017D4EDBC2}"/>
              </a:ext>
            </a:extLst>
          </p:cNvPr>
          <p:cNvCxnSpPr>
            <a:cxnSpLocks/>
          </p:cNvCxnSpPr>
          <p:nvPr/>
        </p:nvCxnSpPr>
        <p:spPr>
          <a:xfrm>
            <a:off x="306964" y="3160205"/>
            <a:ext cx="320014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35FA587-CD94-7940-81F0-44939AE471A2}"/>
              </a:ext>
            </a:extLst>
          </p:cNvPr>
          <p:cNvCxnSpPr>
            <a:cxnSpLocks/>
          </p:cNvCxnSpPr>
          <p:nvPr/>
        </p:nvCxnSpPr>
        <p:spPr>
          <a:xfrm>
            <a:off x="1915246" y="3160205"/>
            <a:ext cx="320014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58EE81F-518C-CE4A-8DE0-A1F0C93B6B65}"/>
              </a:ext>
            </a:extLst>
          </p:cNvPr>
          <p:cNvCxnSpPr>
            <a:cxnSpLocks/>
          </p:cNvCxnSpPr>
          <p:nvPr/>
        </p:nvCxnSpPr>
        <p:spPr>
          <a:xfrm>
            <a:off x="3563768" y="1233172"/>
            <a:ext cx="320014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E5AE1B6C-2774-4FFD-8DFF-BC125C2C7D0E}"/>
              </a:ext>
            </a:extLst>
          </p:cNvPr>
          <p:cNvSpPr txBox="1"/>
          <p:nvPr/>
        </p:nvSpPr>
        <p:spPr>
          <a:xfrm>
            <a:off x="3574341" y="1274447"/>
            <a:ext cx="2120102" cy="219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Continuously improving</a:t>
            </a:r>
          </a:p>
        </p:txBody>
      </p:sp>
    </p:spTree>
    <p:extLst>
      <p:ext uri="{BB962C8B-B14F-4D97-AF65-F5344CB8AC3E}">
        <p14:creationId xmlns:p14="http://schemas.microsoft.com/office/powerpoint/2010/main" val="360091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2A1BF4E-6300-43B9-96AF-C5934CD86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4303" y="1471445"/>
            <a:ext cx="2822167" cy="282216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1A2588-1EA7-4A6B-B2B8-8CE756AC132E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32" y="125417"/>
            <a:ext cx="8492897" cy="529660"/>
          </a:xfrm>
        </p:spPr>
        <p:txBody>
          <a:bodyPr/>
          <a:lstStyle/>
          <a:p>
            <a:r>
              <a:rPr lang="en-US" sz="3600"/>
              <a:t>Aalto quality system</a:t>
            </a:r>
            <a:endParaRPr lang="fi-FI" sz="3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ED6AFE-E4B9-461A-AD4A-9FC0E9DC64D8}"/>
              </a:ext>
            </a:extLst>
          </p:cNvPr>
          <p:cNvSpPr txBox="1"/>
          <p:nvPr/>
        </p:nvSpPr>
        <p:spPr>
          <a:xfrm>
            <a:off x="432157" y="1055946"/>
            <a:ext cx="2663426" cy="1015663"/>
          </a:xfrm>
          <a:prstGeom prst="rect">
            <a:avLst/>
          </a:prstGeom>
          <a:noFill/>
          <a:ln w="12700" cmpd="sng">
            <a:noFill/>
          </a:ln>
        </p:spPr>
        <p:txBody>
          <a:bodyPr wrap="square" rtlCol="0">
            <a:spAutoFit/>
          </a:bodyPr>
          <a:lstStyle/>
          <a:p>
            <a:pPr marL="238115" indent="-238115">
              <a:buFont typeface="Arial"/>
              <a:buChar char="•"/>
            </a:pPr>
            <a:r>
              <a:rPr lang="fi-FI" sz="1200" b="1"/>
              <a:t>Aalto </a:t>
            </a:r>
            <a:r>
              <a:rPr lang="fi-FI" sz="1200" b="1" err="1"/>
              <a:t>strategy</a:t>
            </a:r>
            <a:endParaRPr lang="fi-FI" sz="1200" b="1"/>
          </a:p>
          <a:p>
            <a:pPr marL="238115" indent="-238115">
              <a:buFont typeface="Arial"/>
              <a:buChar char="•"/>
            </a:pPr>
            <a:r>
              <a:rPr lang="fi-FI" sz="1200" b="1" err="1"/>
              <a:t>School’s</a:t>
            </a:r>
            <a:r>
              <a:rPr lang="fi-FI" sz="1200" b="1"/>
              <a:t> / </a:t>
            </a:r>
            <a:r>
              <a:rPr lang="fi-FI" sz="1200" b="1" err="1"/>
              <a:t>Department’s</a:t>
            </a:r>
            <a:r>
              <a:rPr lang="fi-FI" sz="1200" b="1"/>
              <a:t> </a:t>
            </a:r>
            <a:r>
              <a:rPr lang="fi-FI" sz="1200" b="1" err="1"/>
              <a:t>strategic</a:t>
            </a:r>
            <a:r>
              <a:rPr lang="fi-FI" sz="1200" b="1"/>
              <a:t> </a:t>
            </a:r>
            <a:r>
              <a:rPr lang="fi-FI" sz="1200" b="1" err="1"/>
              <a:t>plans</a:t>
            </a:r>
            <a:r>
              <a:rPr lang="fi-FI" sz="1200" b="1"/>
              <a:t>, action </a:t>
            </a:r>
            <a:r>
              <a:rPr lang="fi-FI" sz="1200" b="1" err="1"/>
              <a:t>plans</a:t>
            </a:r>
            <a:endParaRPr lang="fi-FI" sz="1200" b="1"/>
          </a:p>
          <a:p>
            <a:pPr marL="238115" indent="-238115">
              <a:buFont typeface="Arial"/>
              <a:buChar char="•"/>
            </a:pPr>
            <a:r>
              <a:rPr lang="fi-FI" sz="1200" b="1" err="1"/>
              <a:t>Bylaws</a:t>
            </a:r>
            <a:r>
              <a:rPr lang="fi-FI" sz="1200" b="1"/>
              <a:t>, </a:t>
            </a:r>
            <a:r>
              <a:rPr lang="fi-FI" sz="1200" b="1" err="1"/>
              <a:t>regulations</a:t>
            </a:r>
            <a:r>
              <a:rPr lang="fi-FI" sz="1200" b="1"/>
              <a:t>, </a:t>
            </a:r>
            <a:r>
              <a:rPr lang="fi-FI" sz="1200" b="1" err="1"/>
              <a:t>instructions</a:t>
            </a:r>
            <a:endParaRPr lang="en-US" sz="1200" b="1"/>
          </a:p>
        </p:txBody>
      </p:sp>
      <p:sp>
        <p:nvSpPr>
          <p:cNvPr id="8" name="Rounded Rectangular Callout 17">
            <a:extLst>
              <a:ext uri="{FF2B5EF4-FFF2-40B4-BE49-F238E27FC236}">
                <a16:creationId xmlns:a16="http://schemas.microsoft.com/office/drawing/2014/main" id="{F2E87AF5-3182-4CFD-A0F9-8C0BABDC5E2D}"/>
              </a:ext>
            </a:extLst>
          </p:cNvPr>
          <p:cNvSpPr/>
          <p:nvPr/>
        </p:nvSpPr>
        <p:spPr>
          <a:xfrm>
            <a:off x="5993123" y="3464351"/>
            <a:ext cx="2868072" cy="1112362"/>
          </a:xfrm>
          <a:prstGeom prst="wedgeRoundRectCallout">
            <a:avLst>
              <a:gd name="adj1" fmla="val -84618"/>
              <a:gd name="adj2" fmla="val 11141"/>
              <a:gd name="adj3" fmla="val 16667"/>
            </a:avLst>
          </a:prstGeom>
          <a:noFill/>
          <a:ln w="19050" cmpd="sng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D7BDB1-FB69-4D9C-9664-E515E01AF6C1}"/>
              </a:ext>
            </a:extLst>
          </p:cNvPr>
          <p:cNvSpPr txBox="1"/>
          <p:nvPr/>
        </p:nvSpPr>
        <p:spPr>
          <a:xfrm>
            <a:off x="358772" y="2993461"/>
            <a:ext cx="2955634" cy="830997"/>
          </a:xfrm>
          <a:prstGeom prst="rect">
            <a:avLst/>
          </a:prstGeom>
          <a:noFill/>
          <a:ln w="12700" cmpd="sng">
            <a:noFill/>
          </a:ln>
        </p:spPr>
        <p:txBody>
          <a:bodyPr wrap="square" rtlCol="0">
            <a:spAutoFit/>
          </a:bodyPr>
          <a:lstStyle/>
          <a:p>
            <a:pPr marL="238115" indent="-238115">
              <a:buFont typeface="Arial"/>
              <a:buChar char="•"/>
            </a:pPr>
            <a:r>
              <a:rPr lang="en-US" sz="1200" b="1"/>
              <a:t>Adjustment to strategy</a:t>
            </a:r>
          </a:p>
          <a:p>
            <a:pPr marL="238115" indent="-238115">
              <a:buFont typeface="Arial"/>
              <a:buChar char="•"/>
            </a:pPr>
            <a:r>
              <a:rPr lang="en-US" sz="1200" b="1"/>
              <a:t>Improvement actions and development projects</a:t>
            </a:r>
          </a:p>
          <a:p>
            <a:pPr marL="238115" indent="-238115">
              <a:buFont typeface="Arial"/>
              <a:buChar char="•"/>
            </a:pPr>
            <a:r>
              <a:rPr lang="fi-FI" sz="1200" b="1" err="1"/>
              <a:t>Renewal</a:t>
            </a:r>
            <a:r>
              <a:rPr lang="fi-FI" sz="1200" b="1"/>
              <a:t> of </a:t>
            </a:r>
            <a:r>
              <a:rPr lang="fi-FI" sz="1200" b="1" err="1"/>
              <a:t>objectives</a:t>
            </a:r>
            <a:endParaRPr lang="en-US" sz="1200" b="1"/>
          </a:p>
        </p:txBody>
      </p:sp>
      <p:sp>
        <p:nvSpPr>
          <p:cNvPr id="9" name="Rounded Rectangular Callout 19">
            <a:extLst>
              <a:ext uri="{FF2B5EF4-FFF2-40B4-BE49-F238E27FC236}">
                <a16:creationId xmlns:a16="http://schemas.microsoft.com/office/drawing/2014/main" id="{7439E885-5368-4D3A-8B8B-F63D7D2E5735}"/>
              </a:ext>
            </a:extLst>
          </p:cNvPr>
          <p:cNvSpPr/>
          <p:nvPr/>
        </p:nvSpPr>
        <p:spPr>
          <a:xfrm>
            <a:off x="278146" y="2993461"/>
            <a:ext cx="2750418" cy="1015663"/>
          </a:xfrm>
          <a:prstGeom prst="wedgeRoundRectCallout">
            <a:avLst>
              <a:gd name="adj1" fmla="val 49226"/>
              <a:gd name="adj2" fmla="val -80245"/>
              <a:gd name="adj3" fmla="val 16667"/>
            </a:avLst>
          </a:prstGeom>
          <a:noFill/>
          <a:ln w="19050" cmpd="sng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Rounded Rectangular Callout 21">
            <a:extLst>
              <a:ext uri="{FF2B5EF4-FFF2-40B4-BE49-F238E27FC236}">
                <a16:creationId xmlns:a16="http://schemas.microsoft.com/office/drawing/2014/main" id="{41B90222-5AAB-409B-9D99-E03A64D03A84}"/>
              </a:ext>
            </a:extLst>
          </p:cNvPr>
          <p:cNvSpPr/>
          <p:nvPr/>
        </p:nvSpPr>
        <p:spPr>
          <a:xfrm>
            <a:off x="5943072" y="994497"/>
            <a:ext cx="2475063" cy="1404625"/>
          </a:xfrm>
          <a:prstGeom prst="wedgeRoundRectCallout">
            <a:avLst>
              <a:gd name="adj1" fmla="val -54715"/>
              <a:gd name="adj2" fmla="val 70488"/>
              <a:gd name="adj3" fmla="val 16667"/>
            </a:avLst>
          </a:prstGeom>
          <a:noFill/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ounded Rectangular Callout 18">
            <a:extLst>
              <a:ext uri="{FF2B5EF4-FFF2-40B4-BE49-F238E27FC236}">
                <a16:creationId xmlns:a16="http://schemas.microsoft.com/office/drawing/2014/main" id="{FEE99CF6-FA3D-42E3-B7CA-969A20F3E77C}"/>
              </a:ext>
            </a:extLst>
          </p:cNvPr>
          <p:cNvSpPr/>
          <p:nvPr/>
        </p:nvSpPr>
        <p:spPr>
          <a:xfrm>
            <a:off x="309111" y="994497"/>
            <a:ext cx="2750418" cy="1072613"/>
          </a:xfrm>
          <a:prstGeom prst="wedgeRoundRectCallout">
            <a:avLst>
              <a:gd name="adj1" fmla="val 92850"/>
              <a:gd name="adj2" fmla="val -3049"/>
              <a:gd name="adj3" fmla="val 16667"/>
            </a:avLst>
          </a:prstGeom>
          <a:noFill/>
          <a:ln w="19050" cmpd="sng"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11BB79-D909-48D0-8947-0D71E9A993F6}"/>
              </a:ext>
            </a:extLst>
          </p:cNvPr>
          <p:cNvSpPr txBox="1"/>
          <p:nvPr/>
        </p:nvSpPr>
        <p:spPr>
          <a:xfrm>
            <a:off x="6150989" y="1119147"/>
            <a:ext cx="219503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39" marR="0" lvl="0" indent="-285739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Research activities</a:t>
            </a:r>
          </a:p>
          <a:p>
            <a:pPr marL="285739" marR="0" lvl="0" indent="-285739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fi-FI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Artistic</a:t>
            </a: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 </a:t>
            </a:r>
            <a:r>
              <a:rPr kumimoji="0" lang="fi-FI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activities</a:t>
            </a:r>
            <a:endParaRPr kumimoji="0" lang="fi-FI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Georgia"/>
            </a:endParaRPr>
          </a:p>
          <a:p>
            <a:pPr marL="285739" marR="0" lvl="0" indent="-285739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Education and </a:t>
            </a:r>
            <a:r>
              <a:rPr kumimoji="0" lang="fi-FI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learning</a:t>
            </a:r>
            <a:endParaRPr kumimoji="0" lang="fi-FI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Georgia"/>
            </a:endParaRPr>
          </a:p>
          <a:p>
            <a:pPr marL="285739" marR="0" lvl="0" indent="-285739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fi-FI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Societal</a:t>
            </a: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 </a:t>
            </a:r>
            <a:r>
              <a:rPr kumimoji="0" lang="fi-FI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interaction</a:t>
            </a:r>
            <a:endParaRPr kumimoji="0" lang="fi-FI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Georgia"/>
            </a:endParaRPr>
          </a:p>
          <a:p>
            <a:pPr marL="285739" marR="0" lvl="0" indent="-285739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Services and </a:t>
            </a:r>
            <a:r>
              <a:rPr kumimoji="0" lang="fi-FI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Georgia"/>
              </a:rPr>
              <a:t>leadership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Georgi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176D5A2-5C0E-416B-B38A-DAAF9E86A392}"/>
              </a:ext>
            </a:extLst>
          </p:cNvPr>
          <p:cNvSpPr txBox="1"/>
          <p:nvPr/>
        </p:nvSpPr>
        <p:spPr>
          <a:xfrm>
            <a:off x="5989937" y="3604065"/>
            <a:ext cx="26825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8115" indent="-238115">
              <a:buFont typeface="Arial"/>
              <a:buChar char="•"/>
            </a:pPr>
            <a:r>
              <a:rPr lang="en-US" sz="1200" b="1"/>
              <a:t>Key performance indicators</a:t>
            </a:r>
          </a:p>
          <a:p>
            <a:pPr marL="238115" indent="-238115">
              <a:buFont typeface="Arial"/>
              <a:buChar char="•"/>
            </a:pPr>
            <a:r>
              <a:rPr lang="fi-FI" sz="1200" b="1" err="1"/>
              <a:t>Internal</a:t>
            </a:r>
            <a:r>
              <a:rPr lang="fi-FI" sz="1200" b="1"/>
              <a:t> and </a:t>
            </a:r>
            <a:r>
              <a:rPr lang="fi-FI" sz="1200" b="1" err="1"/>
              <a:t>external</a:t>
            </a:r>
            <a:r>
              <a:rPr lang="fi-FI" sz="1200" b="1"/>
              <a:t> </a:t>
            </a:r>
            <a:r>
              <a:rPr lang="fi-FI" sz="1200" b="1" err="1"/>
              <a:t>evaluations</a:t>
            </a:r>
            <a:endParaRPr lang="fi-FI" sz="1200" b="1"/>
          </a:p>
          <a:p>
            <a:pPr marL="238115" indent="-238115">
              <a:buFont typeface="Arial"/>
              <a:buChar char="•"/>
            </a:pPr>
            <a:r>
              <a:rPr lang="fi-FI" sz="1200" b="1"/>
              <a:t>Feedback</a:t>
            </a:r>
          </a:p>
        </p:txBody>
      </p:sp>
    </p:spTree>
    <p:extLst>
      <p:ext uri="{BB962C8B-B14F-4D97-AF65-F5344CB8AC3E}">
        <p14:creationId xmlns:p14="http://schemas.microsoft.com/office/powerpoint/2010/main" val="2422659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Oval 73">
            <a:extLst>
              <a:ext uri="{FF2B5EF4-FFF2-40B4-BE49-F238E27FC236}">
                <a16:creationId xmlns:a16="http://schemas.microsoft.com/office/drawing/2014/main" id="{E8D44F18-0271-824A-9FBA-B15A9F90E177}"/>
              </a:ext>
            </a:extLst>
          </p:cNvPr>
          <p:cNvSpPr/>
          <p:nvPr/>
        </p:nvSpPr>
        <p:spPr>
          <a:xfrm>
            <a:off x="6826869" y="1431469"/>
            <a:ext cx="1431971" cy="1442189"/>
          </a:xfrm>
          <a:prstGeom prst="ellipse">
            <a:avLst/>
          </a:prstGeom>
          <a:solidFill>
            <a:srgbClr val="C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2C689786-FA0C-B84D-9C00-73A0B3AEFF0B}"/>
              </a:ext>
            </a:extLst>
          </p:cNvPr>
          <p:cNvSpPr/>
          <p:nvPr/>
        </p:nvSpPr>
        <p:spPr>
          <a:xfrm>
            <a:off x="5238340" y="831909"/>
            <a:ext cx="1294280" cy="2564533"/>
          </a:xfrm>
          <a:prstGeom prst="roundRect">
            <a:avLst/>
          </a:prstGeom>
          <a:solidFill>
            <a:srgbClr val="C40A12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43FFF293-4056-EC49-87A3-E89EF80CE942}"/>
              </a:ext>
            </a:extLst>
          </p:cNvPr>
          <p:cNvSpPr/>
          <p:nvPr/>
        </p:nvSpPr>
        <p:spPr>
          <a:xfrm>
            <a:off x="2554039" y="831909"/>
            <a:ext cx="1418189" cy="2564534"/>
          </a:xfrm>
          <a:prstGeom prst="roundRect">
            <a:avLst/>
          </a:prstGeom>
          <a:solidFill>
            <a:srgbClr val="87B4D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4" name="Suora nuoliyhdysviiva 30">
            <a:extLst>
              <a:ext uri="{FF2B5EF4-FFF2-40B4-BE49-F238E27FC236}">
                <a16:creationId xmlns:a16="http://schemas.microsoft.com/office/drawing/2014/main" id="{C9B05A50-5CF6-714D-85DB-E9B3257020FE}"/>
              </a:ext>
            </a:extLst>
          </p:cNvPr>
          <p:cNvCxnSpPr>
            <a:cxnSpLocks/>
          </p:cNvCxnSpPr>
          <p:nvPr/>
        </p:nvCxnSpPr>
        <p:spPr>
          <a:xfrm>
            <a:off x="1118656" y="3842765"/>
            <a:ext cx="686922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Rectangle 6">
            <a:extLst>
              <a:ext uri="{FF2B5EF4-FFF2-40B4-BE49-F238E27FC236}">
                <a16:creationId xmlns:a16="http://schemas.microsoft.com/office/drawing/2014/main" id="{722C9F61-C95B-7541-A679-354AD8349A56}"/>
              </a:ext>
            </a:extLst>
          </p:cNvPr>
          <p:cNvSpPr/>
          <p:nvPr/>
        </p:nvSpPr>
        <p:spPr>
          <a:xfrm>
            <a:off x="1097611" y="3952454"/>
            <a:ext cx="1479102" cy="591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610" rtlCol="0" anchor="ctr"/>
          <a:lstStyle/>
          <a:p>
            <a:pPr algn="ctr" defTabSz="333284">
              <a:defRPr/>
            </a:pPr>
            <a:r>
              <a:rPr lang="fi-FI" sz="891" b="1" spc="-73" dirty="0">
                <a:solidFill>
                  <a:sysClr val="windowText" lastClr="000000"/>
                </a:solidFill>
                <a:latin typeface="Arial" panose="020B0604020202020204"/>
                <a:ea typeface="ＭＳ Ｐゴシック" charset="0"/>
              </a:rPr>
              <a:t>SEPTEMBER - NOVEMBER</a:t>
            </a: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2AD406CA-F477-F84D-A0C8-14102128B8CE}"/>
              </a:ext>
            </a:extLst>
          </p:cNvPr>
          <p:cNvSpPr/>
          <p:nvPr/>
        </p:nvSpPr>
        <p:spPr>
          <a:xfrm>
            <a:off x="2619290" y="3903943"/>
            <a:ext cx="1445790" cy="1594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610" rtlCol="0" anchor="ctr"/>
          <a:lstStyle/>
          <a:p>
            <a:pPr algn="ctr" defTabSz="333284">
              <a:defRPr/>
            </a:pPr>
            <a:r>
              <a:rPr lang="fi-FI" sz="891" b="1" spc="-73">
                <a:solidFill>
                  <a:sysClr val="windowText" lastClr="000000"/>
                </a:solidFill>
                <a:latin typeface="Arial" panose="020B0604020202020204"/>
                <a:ea typeface="ＭＳ Ｐゴシック" charset="0"/>
              </a:rPr>
              <a:t>FEBRUARY- MARCH</a:t>
            </a: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6CFC3BF0-6356-FC49-A57E-2ED153529A6E}"/>
              </a:ext>
            </a:extLst>
          </p:cNvPr>
          <p:cNvSpPr/>
          <p:nvPr/>
        </p:nvSpPr>
        <p:spPr>
          <a:xfrm>
            <a:off x="5560768" y="3911540"/>
            <a:ext cx="703643" cy="1241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610" rtlCol="0" anchor="ctr"/>
          <a:lstStyle/>
          <a:p>
            <a:pPr algn="ctr" defTabSz="333284">
              <a:defRPr/>
            </a:pPr>
            <a:r>
              <a:rPr lang="fi-FI" sz="891" b="1" spc="-73">
                <a:solidFill>
                  <a:sysClr val="windowText" lastClr="000000"/>
                </a:solidFill>
                <a:latin typeface="Arial" panose="020B0604020202020204"/>
                <a:ea typeface="ＭＳ Ｐゴシック" charset="0"/>
              </a:rPr>
              <a:t>APRIL-MAY</a:t>
            </a:r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C6EB95E1-11BB-CA43-BD76-C8C32845B55A}"/>
              </a:ext>
            </a:extLst>
          </p:cNvPr>
          <p:cNvSpPr/>
          <p:nvPr/>
        </p:nvSpPr>
        <p:spPr>
          <a:xfrm>
            <a:off x="7137449" y="3911540"/>
            <a:ext cx="703643" cy="1241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610" rtlCol="0" anchor="ctr"/>
          <a:lstStyle/>
          <a:p>
            <a:pPr algn="ctr" defTabSz="333284">
              <a:defRPr/>
            </a:pPr>
            <a:r>
              <a:rPr lang="fi-FI" sz="891" b="1" spc="-73">
                <a:solidFill>
                  <a:sysClr val="windowText" lastClr="000000"/>
                </a:solidFill>
                <a:latin typeface="Arial" panose="020B0604020202020204"/>
                <a:ea typeface="ＭＳ Ｐゴシック" charset="0"/>
              </a:rPr>
              <a:t>JUNE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B48E64E-9165-8D4C-9F30-68E32D5C1A64}"/>
              </a:ext>
            </a:extLst>
          </p:cNvPr>
          <p:cNvSpPr/>
          <p:nvPr/>
        </p:nvSpPr>
        <p:spPr>
          <a:xfrm>
            <a:off x="946832" y="1416290"/>
            <a:ext cx="1373274" cy="1466205"/>
          </a:xfrm>
          <a:prstGeom prst="ellipse">
            <a:avLst/>
          </a:prstGeom>
          <a:solidFill>
            <a:srgbClr val="005EB8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DEDE230-CB8A-4F43-A69A-E640CB62FC7C}"/>
              </a:ext>
            </a:extLst>
          </p:cNvPr>
          <p:cNvGrpSpPr/>
          <p:nvPr/>
        </p:nvGrpSpPr>
        <p:grpSpPr>
          <a:xfrm>
            <a:off x="2576713" y="2658484"/>
            <a:ext cx="690216" cy="663297"/>
            <a:chOff x="2167848" y="2605654"/>
            <a:chExt cx="852119" cy="818885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3719EC3-E11A-8440-9EBE-540E71E996E1}"/>
                </a:ext>
              </a:extLst>
            </p:cNvPr>
            <p:cNvSpPr/>
            <p:nvPr/>
          </p:nvSpPr>
          <p:spPr>
            <a:xfrm>
              <a:off x="2191680" y="2605654"/>
              <a:ext cx="818885" cy="81888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5E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5498">
                <a:defRPr/>
              </a:pPr>
              <a:endParaRPr lang="en-FI" sz="1094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FFBA40F-A910-CB41-9DB6-DFF04A2C3F78}"/>
                </a:ext>
              </a:extLst>
            </p:cNvPr>
            <p:cNvSpPr txBox="1"/>
            <p:nvPr/>
          </p:nvSpPr>
          <p:spPr>
            <a:xfrm>
              <a:off x="2167848" y="2786313"/>
              <a:ext cx="852119" cy="5295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555498">
                <a:defRPr/>
              </a:pPr>
              <a:r>
                <a:rPr lang="en-GB" sz="729" b="1">
                  <a:solidFill>
                    <a:prstClr val="black"/>
                  </a:solidFill>
                  <a:latin typeface="Arial" panose="020B0604020202020204"/>
                  <a:ea typeface="ＭＳ Ｐゴシック" charset="0"/>
                </a:rPr>
                <a:t>J</a:t>
              </a:r>
              <a:r>
                <a:rPr lang="en-FI" sz="729" b="1">
                  <a:solidFill>
                    <a:prstClr val="black"/>
                  </a:solidFill>
                  <a:latin typeface="Arial" panose="020B0604020202020204"/>
                  <a:ea typeface="ＭＳ Ｐゴシック" charset="0"/>
                </a:rPr>
                <a:t>oint strategic areas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D5F83FD-CA06-BE4C-B7C0-9B8804C0A79F}"/>
              </a:ext>
            </a:extLst>
          </p:cNvPr>
          <p:cNvGrpSpPr/>
          <p:nvPr/>
        </p:nvGrpSpPr>
        <p:grpSpPr>
          <a:xfrm>
            <a:off x="2882276" y="2185283"/>
            <a:ext cx="663297" cy="663297"/>
            <a:chOff x="2545087" y="2021456"/>
            <a:chExt cx="818885" cy="818885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9F73232C-B6E9-874D-A129-A3AAE85D63E2}"/>
                </a:ext>
              </a:extLst>
            </p:cNvPr>
            <p:cNvSpPr/>
            <p:nvPr/>
          </p:nvSpPr>
          <p:spPr>
            <a:xfrm>
              <a:off x="2545087" y="2021456"/>
              <a:ext cx="818885" cy="81888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5E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5498">
                <a:defRPr/>
              </a:pPr>
              <a:endParaRPr lang="en-FI" sz="1094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4C8BADD-21FF-624A-9DCB-E479106C4295}"/>
                </a:ext>
              </a:extLst>
            </p:cNvPr>
            <p:cNvSpPr txBox="1"/>
            <p:nvPr/>
          </p:nvSpPr>
          <p:spPr>
            <a:xfrm>
              <a:off x="2545087" y="2301421"/>
              <a:ext cx="818885" cy="2525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555498">
                <a:defRPr/>
              </a:pPr>
              <a:r>
                <a:rPr lang="fi-FI" sz="729" b="1">
                  <a:solidFill>
                    <a:prstClr val="black"/>
                  </a:solidFill>
                  <a:latin typeface="Arial" panose="020B0604020202020204"/>
                  <a:ea typeface="ＭＳ Ｐゴシック" charset="0"/>
                </a:rPr>
                <a:t>Schools</a:t>
              </a:r>
              <a:endParaRPr lang="en-FI" sz="729" b="1">
                <a:solidFill>
                  <a:prstClr val="black"/>
                </a:solidFill>
                <a:latin typeface="Arial" panose="020B0604020202020204"/>
                <a:ea typeface="ＭＳ Ｐゴシック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1284499-2FE2-AA48-81D1-0E139A106399}"/>
              </a:ext>
            </a:extLst>
          </p:cNvPr>
          <p:cNvGrpSpPr/>
          <p:nvPr/>
        </p:nvGrpSpPr>
        <p:grpSpPr>
          <a:xfrm>
            <a:off x="3157192" y="2654024"/>
            <a:ext cx="663297" cy="663297"/>
            <a:chOff x="2884488" y="2600149"/>
            <a:chExt cx="818885" cy="818885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F4278633-E0C6-5D41-8A36-BF7D32BF11C9}"/>
                </a:ext>
              </a:extLst>
            </p:cNvPr>
            <p:cNvSpPr/>
            <p:nvPr/>
          </p:nvSpPr>
          <p:spPr>
            <a:xfrm>
              <a:off x="2884488" y="2600149"/>
              <a:ext cx="818885" cy="81888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5E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5498">
                <a:defRPr/>
              </a:pPr>
              <a:endParaRPr lang="en-FI" sz="1094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395DC6-1953-924C-A544-24206148C079}"/>
                </a:ext>
              </a:extLst>
            </p:cNvPr>
            <p:cNvSpPr txBox="1"/>
            <p:nvPr/>
          </p:nvSpPr>
          <p:spPr>
            <a:xfrm>
              <a:off x="2942372" y="2880625"/>
              <a:ext cx="704676" cy="252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555498">
                <a:defRPr/>
              </a:pPr>
              <a:r>
                <a:rPr lang="fi-FI" sz="729" b="1">
                  <a:solidFill>
                    <a:prstClr val="black"/>
                  </a:solidFill>
                  <a:latin typeface="Arial" panose="020B0604020202020204"/>
                  <a:ea typeface="ＭＳ Ｐゴシック" charset="0"/>
                </a:rPr>
                <a:t>Services</a:t>
              </a:r>
              <a:endParaRPr lang="en-FI" sz="729" b="1">
                <a:solidFill>
                  <a:prstClr val="black"/>
                </a:solidFill>
                <a:latin typeface="Arial" panose="020B0604020202020204"/>
                <a:ea typeface="ＭＳ Ｐゴシック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744C9675-63BA-5A4A-AC8E-BA8C58E85983}"/>
              </a:ext>
            </a:extLst>
          </p:cNvPr>
          <p:cNvSpPr txBox="1"/>
          <p:nvPr/>
        </p:nvSpPr>
        <p:spPr>
          <a:xfrm>
            <a:off x="1197959" y="1679013"/>
            <a:ext cx="961254" cy="3665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5498">
              <a:defRPr/>
            </a:pPr>
            <a:r>
              <a:rPr lang="fi-FI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UNIVERSITY PREVIEW</a:t>
            </a:r>
            <a:endParaRPr lang="en-FI" sz="891" b="1">
              <a:solidFill>
                <a:prstClr val="white"/>
              </a:solidFill>
              <a:latin typeface="Arial" panose="020B0604020202020204"/>
              <a:ea typeface="ＭＳ Ｐゴシック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975AD14-323C-DE4C-BA91-6375B81BD8C8}"/>
              </a:ext>
            </a:extLst>
          </p:cNvPr>
          <p:cNvSpPr txBox="1"/>
          <p:nvPr/>
        </p:nvSpPr>
        <p:spPr>
          <a:xfrm>
            <a:off x="2546441" y="1099858"/>
            <a:ext cx="1347467" cy="3665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5498">
              <a:defRPr/>
            </a:pPr>
            <a:r>
              <a:rPr lang="fi-FI" sz="891" b="1" dirty="0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UNIVERSITY</a:t>
            </a:r>
          </a:p>
          <a:p>
            <a:pPr algn="ctr" defTabSz="555498">
              <a:defRPr/>
            </a:pPr>
            <a:r>
              <a:rPr lang="fi-FI" sz="891" b="1" dirty="0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REVIEW N-1</a:t>
            </a:r>
            <a:endParaRPr lang="en-FI" sz="891" b="1" dirty="0">
              <a:solidFill>
                <a:prstClr val="white"/>
              </a:solidFill>
              <a:latin typeface="Arial" panose="020B0604020202020204"/>
              <a:ea typeface="ＭＳ Ｐゴシック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2D83A44-8C1B-1240-A66C-E688EE54A6E6}"/>
              </a:ext>
            </a:extLst>
          </p:cNvPr>
          <p:cNvSpPr/>
          <p:nvPr/>
        </p:nvSpPr>
        <p:spPr>
          <a:xfrm>
            <a:off x="1038041" y="2104604"/>
            <a:ext cx="1176852" cy="640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49954">
              <a:defRPr/>
            </a:pPr>
            <a:r>
              <a:rPr lang="en-US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Reviewing assumptions of the operating environment</a:t>
            </a:r>
            <a:endParaRPr lang="en-US" sz="891">
              <a:solidFill>
                <a:prstClr val="white"/>
              </a:solidFill>
              <a:latin typeface="Arial" panose="020B0604020202020204"/>
              <a:ea typeface="ＭＳ Ｐゴシック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C138247-E5AB-9147-9E74-794B2643BDB2}"/>
              </a:ext>
            </a:extLst>
          </p:cNvPr>
          <p:cNvSpPr/>
          <p:nvPr/>
        </p:nvSpPr>
        <p:spPr>
          <a:xfrm>
            <a:off x="2545851" y="1629330"/>
            <a:ext cx="1347467" cy="503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49954">
              <a:defRPr/>
            </a:pPr>
            <a:r>
              <a:rPr lang="en-US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Strategy implementation follow-up by AMT</a:t>
            </a:r>
            <a:endParaRPr lang="en-US" sz="891">
              <a:solidFill>
                <a:prstClr val="white"/>
              </a:solidFill>
              <a:latin typeface="Arial" panose="020B0604020202020204"/>
              <a:ea typeface="ＭＳ Ｐゴシック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DE12E6B-07BA-344E-BDE8-1769B775E333}"/>
              </a:ext>
            </a:extLst>
          </p:cNvPr>
          <p:cNvSpPr/>
          <p:nvPr/>
        </p:nvSpPr>
        <p:spPr>
          <a:xfrm>
            <a:off x="4169929" y="1287440"/>
            <a:ext cx="780305" cy="78030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8C10D12-E9A5-6444-8F4C-D157A93B2607}"/>
              </a:ext>
            </a:extLst>
          </p:cNvPr>
          <p:cNvSpPr/>
          <p:nvPr/>
        </p:nvSpPr>
        <p:spPr>
          <a:xfrm>
            <a:off x="4225424" y="1449039"/>
            <a:ext cx="683253" cy="640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69972">
              <a:defRPr/>
            </a:pPr>
            <a:r>
              <a:rPr lang="en-US" sz="891" b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/>
                <a:ea typeface="ＭＳ Ｐゴシック" charset="0"/>
              </a:rPr>
              <a:t>Board long term plan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30E8C8B-B8F3-784B-BBE1-CE0932D1E038}"/>
              </a:ext>
            </a:extLst>
          </p:cNvPr>
          <p:cNvSpPr/>
          <p:nvPr/>
        </p:nvSpPr>
        <p:spPr>
          <a:xfrm>
            <a:off x="4163786" y="2470647"/>
            <a:ext cx="780305" cy="78030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C477479-3448-F549-B5D0-2AC7EDFB11BD}"/>
              </a:ext>
            </a:extLst>
          </p:cNvPr>
          <p:cNvSpPr/>
          <p:nvPr/>
        </p:nvSpPr>
        <p:spPr>
          <a:xfrm>
            <a:off x="4163788" y="2606590"/>
            <a:ext cx="794242" cy="503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69972">
              <a:defRPr/>
            </a:pPr>
            <a:r>
              <a:rPr lang="en-US" sz="891" b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/>
                <a:ea typeface="ＭＳ Ｐゴシック" charset="0"/>
              </a:rPr>
              <a:t>MEC steering proces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A15F27-4D8E-1B4F-AF45-412E18535340}"/>
              </a:ext>
            </a:extLst>
          </p:cNvPr>
          <p:cNvSpPr/>
          <p:nvPr/>
        </p:nvSpPr>
        <p:spPr>
          <a:xfrm>
            <a:off x="5238856" y="1661538"/>
            <a:ext cx="1347467" cy="503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49954">
              <a:defRPr/>
            </a:pPr>
            <a:r>
              <a:rPr lang="en-US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Strategy implementation</a:t>
            </a:r>
          </a:p>
          <a:p>
            <a:pPr algn="ctr" defTabSz="449954">
              <a:defRPr/>
            </a:pPr>
            <a:r>
              <a:rPr lang="en-US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target setting</a:t>
            </a:r>
            <a:endParaRPr lang="en-US" sz="891">
              <a:solidFill>
                <a:prstClr val="white"/>
              </a:solidFill>
              <a:latin typeface="Arial" panose="020B0604020202020204"/>
              <a:ea typeface="ＭＳ Ｐゴシック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602E53C-D9AE-9A43-829A-DB9ADE69434A}"/>
              </a:ext>
            </a:extLst>
          </p:cNvPr>
          <p:cNvSpPr txBox="1"/>
          <p:nvPr/>
        </p:nvSpPr>
        <p:spPr>
          <a:xfrm>
            <a:off x="5213110" y="1057353"/>
            <a:ext cx="1355264" cy="503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5498">
              <a:defRPr/>
            </a:pPr>
            <a:r>
              <a:rPr lang="fi-FI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UNIVERSITY DIALOGUE N+1 and N+2 - 4</a:t>
            </a:r>
            <a:endParaRPr lang="en-FI" sz="891" b="1">
              <a:solidFill>
                <a:prstClr val="white"/>
              </a:solidFill>
              <a:latin typeface="Arial" panose="020B0604020202020204"/>
              <a:ea typeface="ＭＳ Ｐゴシック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9F0F1E9-641F-C24A-A782-7D81369BB1E6}"/>
              </a:ext>
            </a:extLst>
          </p:cNvPr>
          <p:cNvGrpSpPr/>
          <p:nvPr/>
        </p:nvGrpSpPr>
        <p:grpSpPr>
          <a:xfrm>
            <a:off x="5288844" y="2658066"/>
            <a:ext cx="690216" cy="663297"/>
            <a:chOff x="2167848" y="2605654"/>
            <a:chExt cx="852119" cy="818885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D9815D24-C63F-A844-BAA5-A7FA56D291E5}"/>
                </a:ext>
              </a:extLst>
            </p:cNvPr>
            <p:cNvSpPr/>
            <p:nvPr/>
          </p:nvSpPr>
          <p:spPr>
            <a:xfrm>
              <a:off x="2191680" y="2605654"/>
              <a:ext cx="818885" cy="81888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F363B">
                  <a:alpha val="5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5498">
                <a:defRPr/>
              </a:pPr>
              <a:endParaRPr lang="en-FI" sz="1094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8E990A7-B85D-C041-A8B9-AEFFF9434B93}"/>
                </a:ext>
              </a:extLst>
            </p:cNvPr>
            <p:cNvSpPr txBox="1"/>
            <p:nvPr/>
          </p:nvSpPr>
          <p:spPr>
            <a:xfrm>
              <a:off x="2167848" y="2786313"/>
              <a:ext cx="852119" cy="5295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555498">
                <a:defRPr/>
              </a:pPr>
              <a:r>
                <a:rPr lang="en-GB" sz="729" b="1">
                  <a:solidFill>
                    <a:prstClr val="black"/>
                  </a:solidFill>
                  <a:latin typeface="Arial" panose="020B0604020202020204"/>
                  <a:ea typeface="ＭＳ Ｐゴシック" charset="0"/>
                </a:rPr>
                <a:t>J</a:t>
              </a:r>
              <a:r>
                <a:rPr lang="en-FI" sz="729" b="1">
                  <a:solidFill>
                    <a:prstClr val="black"/>
                  </a:solidFill>
                  <a:latin typeface="Arial" panose="020B0604020202020204"/>
                  <a:ea typeface="ＭＳ Ｐゴシック" charset="0"/>
                </a:rPr>
                <a:t>oint strategic areas</a:t>
              </a:r>
            </a:p>
          </p:txBody>
        </p:sp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5E1320C8-EFE2-094C-AEBE-37BBF805BA11}"/>
              </a:ext>
            </a:extLst>
          </p:cNvPr>
          <p:cNvSpPr/>
          <p:nvPr/>
        </p:nvSpPr>
        <p:spPr>
          <a:xfrm>
            <a:off x="5594407" y="2184865"/>
            <a:ext cx="663297" cy="663297"/>
          </a:xfrm>
          <a:prstGeom prst="ellipse">
            <a:avLst/>
          </a:prstGeom>
          <a:solidFill>
            <a:schemeClr val="bg1"/>
          </a:solidFill>
          <a:ln>
            <a:solidFill>
              <a:srgbClr val="EF363B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CB4AC05-DD16-A54E-9D5B-F92A7D8EACE8}"/>
              </a:ext>
            </a:extLst>
          </p:cNvPr>
          <p:cNvSpPr txBox="1"/>
          <p:nvPr/>
        </p:nvSpPr>
        <p:spPr>
          <a:xfrm>
            <a:off x="5594407" y="2411636"/>
            <a:ext cx="663297" cy="2045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555498">
              <a:defRPr/>
            </a:pPr>
            <a:r>
              <a:rPr lang="fi-FI" sz="729" b="1">
                <a:solidFill>
                  <a:prstClr val="black"/>
                </a:solidFill>
                <a:latin typeface="Arial" panose="020B0604020202020204"/>
                <a:ea typeface="ＭＳ Ｐゴシック" charset="0"/>
              </a:rPr>
              <a:t>Schools</a:t>
            </a:r>
            <a:endParaRPr lang="en-FI" sz="729" b="1">
              <a:solidFill>
                <a:prstClr val="black"/>
              </a:solidFill>
              <a:latin typeface="Arial" panose="020B0604020202020204"/>
              <a:ea typeface="ＭＳ Ｐゴシック" charset="0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AAE2960F-28F0-B44B-B8A8-10F80E01BFFA}"/>
              </a:ext>
            </a:extLst>
          </p:cNvPr>
          <p:cNvSpPr/>
          <p:nvPr/>
        </p:nvSpPr>
        <p:spPr>
          <a:xfrm>
            <a:off x="5869323" y="2653607"/>
            <a:ext cx="663297" cy="663297"/>
          </a:xfrm>
          <a:prstGeom prst="ellipse">
            <a:avLst/>
          </a:prstGeom>
          <a:solidFill>
            <a:schemeClr val="bg1"/>
          </a:solidFill>
          <a:ln>
            <a:solidFill>
              <a:srgbClr val="EF363B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5498">
              <a:defRPr/>
            </a:pPr>
            <a:endParaRPr lang="en-FI" sz="109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473565-4AE1-BF4D-9FB0-F2FE935E17A2}"/>
              </a:ext>
            </a:extLst>
          </p:cNvPr>
          <p:cNvSpPr txBox="1"/>
          <p:nvPr/>
        </p:nvSpPr>
        <p:spPr>
          <a:xfrm>
            <a:off x="5916209" y="2880791"/>
            <a:ext cx="570788" cy="2045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555498">
              <a:defRPr/>
            </a:pPr>
            <a:r>
              <a:rPr lang="fi-FI" sz="729" b="1">
                <a:solidFill>
                  <a:prstClr val="black"/>
                </a:solidFill>
                <a:latin typeface="Arial" panose="020B0604020202020204"/>
                <a:ea typeface="ＭＳ Ｐゴシック" charset="0"/>
              </a:rPr>
              <a:t>Services</a:t>
            </a:r>
            <a:endParaRPr lang="en-FI" sz="729" b="1">
              <a:solidFill>
                <a:prstClr val="black"/>
              </a:solidFill>
              <a:latin typeface="Arial" panose="020B0604020202020204"/>
              <a:ea typeface="ＭＳ Ｐゴシック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9E7676A-73AC-F54B-8445-5AD4B728ED7A}"/>
              </a:ext>
            </a:extLst>
          </p:cNvPr>
          <p:cNvSpPr/>
          <p:nvPr/>
        </p:nvSpPr>
        <p:spPr>
          <a:xfrm>
            <a:off x="7010917" y="2206672"/>
            <a:ext cx="1082646" cy="462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46204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1 + 3 year university target agreement 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D190DD4-AECF-6141-94F3-FE49FE6BC0AF}"/>
              </a:ext>
            </a:extLst>
          </p:cNvPr>
          <p:cNvCxnSpPr/>
          <p:nvPr/>
        </p:nvCxnSpPr>
        <p:spPr>
          <a:xfrm>
            <a:off x="1199066" y="2101312"/>
            <a:ext cx="85191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A9A3123-B102-7C4B-B621-989C9D41CE3F}"/>
              </a:ext>
            </a:extLst>
          </p:cNvPr>
          <p:cNvCxnSpPr/>
          <p:nvPr/>
        </p:nvCxnSpPr>
        <p:spPr>
          <a:xfrm>
            <a:off x="2778117" y="1615684"/>
            <a:ext cx="85191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863F034-82D7-4346-ADF5-C78ED184AB9D}"/>
              </a:ext>
            </a:extLst>
          </p:cNvPr>
          <p:cNvCxnSpPr/>
          <p:nvPr/>
        </p:nvCxnSpPr>
        <p:spPr>
          <a:xfrm>
            <a:off x="5475846" y="1636945"/>
            <a:ext cx="85191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242E6BBF-FFCD-FE4B-AFA6-8BB78166E36B}"/>
              </a:ext>
            </a:extLst>
          </p:cNvPr>
          <p:cNvSpPr txBox="1"/>
          <p:nvPr/>
        </p:nvSpPr>
        <p:spPr>
          <a:xfrm>
            <a:off x="7101445" y="1840032"/>
            <a:ext cx="882816" cy="229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5498">
              <a:defRPr/>
            </a:pPr>
            <a:r>
              <a:rPr lang="fi-FI" sz="891" b="1">
                <a:solidFill>
                  <a:prstClr val="white"/>
                </a:solidFill>
                <a:latin typeface="Arial" panose="020B0604020202020204"/>
                <a:ea typeface="ＭＳ Ｐゴシック" charset="0"/>
              </a:rPr>
              <a:t>OUR PLAN</a:t>
            </a:r>
            <a:endParaRPr lang="en-FI" sz="891" b="1">
              <a:solidFill>
                <a:prstClr val="white"/>
              </a:solidFill>
              <a:latin typeface="Arial" panose="020B0604020202020204"/>
              <a:ea typeface="ＭＳ Ｐゴシック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18B8FB0-A4D5-AD4F-B445-254870211234}"/>
              </a:ext>
            </a:extLst>
          </p:cNvPr>
          <p:cNvCxnSpPr/>
          <p:nvPr/>
        </p:nvCxnSpPr>
        <p:spPr>
          <a:xfrm>
            <a:off x="7116893" y="2134265"/>
            <a:ext cx="85191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2C9FF250-760C-8441-BD32-E59B6375E10E}"/>
              </a:ext>
            </a:extLst>
          </p:cNvPr>
          <p:cNvCxnSpPr>
            <a:cxnSpLocks/>
          </p:cNvCxnSpPr>
          <p:nvPr/>
        </p:nvCxnSpPr>
        <p:spPr>
          <a:xfrm>
            <a:off x="2325665" y="2268818"/>
            <a:ext cx="233937" cy="1824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32B6570-5A30-B742-B8D0-5209CF0E3677}"/>
              </a:ext>
            </a:extLst>
          </p:cNvPr>
          <p:cNvCxnSpPr>
            <a:cxnSpLocks/>
            <a:endCxn id="43" idx="2"/>
          </p:cNvCxnSpPr>
          <p:nvPr/>
        </p:nvCxnSpPr>
        <p:spPr>
          <a:xfrm flipV="1">
            <a:off x="3899462" y="1677594"/>
            <a:ext cx="270468" cy="22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0E0AFB71-801B-B142-8263-D512E25EC2EA}"/>
              </a:ext>
            </a:extLst>
          </p:cNvPr>
          <p:cNvCxnSpPr>
            <a:cxnSpLocks/>
          </p:cNvCxnSpPr>
          <p:nvPr/>
        </p:nvCxnSpPr>
        <p:spPr>
          <a:xfrm flipV="1">
            <a:off x="3893186" y="2837652"/>
            <a:ext cx="270468" cy="22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75173F14-C304-6147-B8BC-F72E734CCA17}"/>
              </a:ext>
            </a:extLst>
          </p:cNvPr>
          <p:cNvCxnSpPr>
            <a:cxnSpLocks/>
          </p:cNvCxnSpPr>
          <p:nvPr/>
        </p:nvCxnSpPr>
        <p:spPr>
          <a:xfrm flipV="1">
            <a:off x="4958030" y="1678786"/>
            <a:ext cx="270468" cy="22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42A84AA6-BBE0-3A49-9C91-0480375CBECE}"/>
              </a:ext>
            </a:extLst>
          </p:cNvPr>
          <p:cNvCxnSpPr>
            <a:cxnSpLocks/>
          </p:cNvCxnSpPr>
          <p:nvPr/>
        </p:nvCxnSpPr>
        <p:spPr>
          <a:xfrm flipV="1">
            <a:off x="4951887" y="2847934"/>
            <a:ext cx="270468" cy="22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DFF23182-B625-EC49-A2CB-24E9F51D9EE3}"/>
              </a:ext>
            </a:extLst>
          </p:cNvPr>
          <p:cNvCxnSpPr>
            <a:cxnSpLocks/>
          </p:cNvCxnSpPr>
          <p:nvPr/>
        </p:nvCxnSpPr>
        <p:spPr>
          <a:xfrm>
            <a:off x="3870345" y="2276470"/>
            <a:ext cx="1352011" cy="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B54DFBA2-5A65-1C42-BB7A-3FCCE7EC3BC3}"/>
              </a:ext>
            </a:extLst>
          </p:cNvPr>
          <p:cNvCxnSpPr>
            <a:cxnSpLocks/>
          </p:cNvCxnSpPr>
          <p:nvPr/>
        </p:nvCxnSpPr>
        <p:spPr>
          <a:xfrm flipV="1">
            <a:off x="6575173" y="2290625"/>
            <a:ext cx="270468" cy="22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D3C7B1B-2B22-B946-93AE-A9F476E7F953}"/>
              </a:ext>
            </a:extLst>
          </p:cNvPr>
          <p:cNvCxnSpPr>
            <a:cxnSpLocks/>
            <a:stCxn id="74" idx="4"/>
          </p:cNvCxnSpPr>
          <p:nvPr/>
        </p:nvCxnSpPr>
        <p:spPr>
          <a:xfrm>
            <a:off x="7542854" y="2873658"/>
            <a:ext cx="0" cy="61620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01FCA8D-F707-FE49-B2B9-2BB4E40F1D66}"/>
              </a:ext>
            </a:extLst>
          </p:cNvPr>
          <p:cNvCxnSpPr>
            <a:cxnSpLocks/>
          </p:cNvCxnSpPr>
          <p:nvPr/>
        </p:nvCxnSpPr>
        <p:spPr>
          <a:xfrm flipH="1">
            <a:off x="1633469" y="3515605"/>
            <a:ext cx="5957304" cy="3609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D694A0C6-F209-5942-BD84-D6D2E07F06E3}"/>
              </a:ext>
            </a:extLst>
          </p:cNvPr>
          <p:cNvCxnSpPr>
            <a:cxnSpLocks/>
          </p:cNvCxnSpPr>
          <p:nvPr/>
        </p:nvCxnSpPr>
        <p:spPr>
          <a:xfrm flipV="1">
            <a:off x="1615476" y="2860799"/>
            <a:ext cx="0" cy="67285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B9B9-7893-4A44-9728-63A452ED3636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828737" y="-29207"/>
            <a:ext cx="7762012" cy="999574"/>
          </a:xfrm>
        </p:spPr>
        <p:txBody>
          <a:bodyPr/>
          <a:lstStyle/>
          <a:p>
            <a:r>
              <a:rPr lang="en-FI" dirty="0"/>
              <a:t>Annual management processes</a:t>
            </a:r>
          </a:p>
        </p:txBody>
      </p:sp>
    </p:spTree>
    <p:extLst>
      <p:ext uri="{BB962C8B-B14F-4D97-AF65-F5344CB8AC3E}">
        <p14:creationId xmlns:p14="http://schemas.microsoft.com/office/powerpoint/2010/main" val="6918553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39D74EF3-2A92-45CC-B4A0-C2AD5A387A9D}"/>
              </a:ext>
            </a:extLst>
          </p:cNvPr>
          <p:cNvGrpSpPr/>
          <p:nvPr/>
        </p:nvGrpSpPr>
        <p:grpSpPr>
          <a:xfrm>
            <a:off x="676134" y="688273"/>
            <a:ext cx="7922964" cy="4194225"/>
            <a:chOff x="243260" y="764747"/>
            <a:chExt cx="8803293" cy="4660250"/>
          </a:xfrm>
        </p:grpSpPr>
        <p:graphicFrame>
          <p:nvGraphicFramePr>
            <p:cNvPr id="4" name="Diagram 3"/>
            <p:cNvGraphicFramePr/>
            <p:nvPr/>
          </p:nvGraphicFramePr>
          <p:xfrm>
            <a:off x="632557" y="1124738"/>
            <a:ext cx="8379069" cy="31251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1" name="TextBox 4"/>
            <p:cNvSpPr txBox="1">
              <a:spLocks noChangeArrowheads="1"/>
            </p:cNvSpPr>
            <p:nvPr/>
          </p:nvSpPr>
          <p:spPr bwMode="auto">
            <a:xfrm>
              <a:off x="746082" y="1124738"/>
              <a:ext cx="1173696" cy="1149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Employee</a:t>
              </a: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wellbeing survey</a:t>
              </a: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2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Scientific (and Artistic) Advisory Boards (S(A)AB)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 reviews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2033303" y="1393711"/>
              <a:ext cx="788851" cy="564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Quality system audit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243260" y="1015014"/>
              <a:ext cx="194422" cy="1225393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1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TERNAL</a:t>
              </a:r>
              <a:endParaRPr kumimoji="0" lang="fi-FI" sz="851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45415" y="2998483"/>
              <a:ext cx="194422" cy="1225393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51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NAL</a:t>
              </a:r>
            </a:p>
          </p:txBody>
        </p:sp>
        <p:sp>
          <p:nvSpPr>
            <p:cNvPr id="17" name="TextBox 4"/>
            <p:cNvSpPr txBox="1">
              <a:spLocks noChangeArrowheads="1"/>
            </p:cNvSpPr>
            <p:nvPr/>
          </p:nvSpPr>
          <p:spPr bwMode="auto">
            <a:xfrm>
              <a:off x="5244422" y="3202146"/>
              <a:ext cx="1520542" cy="10259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University Review*</a:t>
              </a: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+ EDI 2022-24 review </a:t>
              </a: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incl. language guidelines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+ Quality management interim review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9" name="TextBox 4"/>
            <p:cNvSpPr txBox="1">
              <a:spLocks noChangeArrowheads="1"/>
            </p:cNvSpPr>
            <p:nvPr/>
          </p:nvSpPr>
          <p:spPr bwMode="auto">
            <a:xfrm>
              <a:off x="781211" y="3206038"/>
              <a:ext cx="1205949" cy="7181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University Review*</a:t>
              </a: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+ </a:t>
              </a:r>
              <a:r>
                <a:rPr kumimoji="0" lang="en-GB" sz="9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Internationali-sation</a:t>
              </a: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 review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0" name="TextBox 4"/>
            <p:cNvSpPr txBox="1">
              <a:spLocks noChangeArrowheads="1"/>
            </p:cNvSpPr>
            <p:nvPr/>
          </p:nvSpPr>
          <p:spPr bwMode="auto">
            <a:xfrm>
              <a:off x="1883405" y="3206038"/>
              <a:ext cx="1114354" cy="10259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University Review*</a:t>
              </a: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+ EQU 2019-21 review incl. language guidelines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1" name="TextBox 4"/>
            <p:cNvSpPr txBox="1">
              <a:spLocks noChangeArrowheads="1"/>
            </p:cNvSpPr>
            <p:nvPr/>
          </p:nvSpPr>
          <p:spPr bwMode="auto">
            <a:xfrm>
              <a:off x="3102889" y="3206038"/>
              <a:ext cx="1114354" cy="86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82296" tIns="41148" rIns="82296" bIns="41148" anchor="t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University Review*</a:t>
              </a: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</a:rPr>
                <a:t>+ Values and Aalto way of working review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2" name="TextBox 4"/>
            <p:cNvSpPr txBox="1">
              <a:spLocks noChangeArrowheads="1"/>
            </p:cNvSpPr>
            <p:nvPr/>
          </p:nvSpPr>
          <p:spPr bwMode="auto">
            <a:xfrm>
              <a:off x="4204615" y="3217103"/>
              <a:ext cx="1178198" cy="7181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University Review*</a:t>
              </a: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+ </a:t>
              </a:r>
              <a:r>
                <a:rPr kumimoji="0" lang="en-GB" sz="9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Internationali-sation</a:t>
              </a: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 review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3" name="TextBox 4"/>
            <p:cNvSpPr txBox="1">
              <a:spLocks noChangeArrowheads="1"/>
            </p:cNvSpPr>
            <p:nvPr/>
          </p:nvSpPr>
          <p:spPr bwMode="auto">
            <a:xfrm>
              <a:off x="4487810" y="1393711"/>
              <a:ext cx="1046048" cy="7181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Ministry of Education &amp; Culture  negotiations</a:t>
              </a:r>
              <a:endParaRPr kumimoji="0" lang="en-US" sz="72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4" name="TextBox 4"/>
            <p:cNvSpPr txBox="1">
              <a:spLocks noChangeArrowheads="1"/>
            </p:cNvSpPr>
            <p:nvPr/>
          </p:nvSpPr>
          <p:spPr bwMode="auto">
            <a:xfrm>
              <a:off x="2877817" y="764747"/>
              <a:ext cx="1725799" cy="1631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82296" tIns="41148" rIns="82296" bIns="41148" anchor="t">
              <a:spAutoFit/>
            </a:bodyPr>
            <a:lstStyle/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-Employee wellbeing survey</a:t>
              </a: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-Human Resources Strategy for Researchers (HRS4R)</a:t>
              </a: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-Physical &amp; digital campus evaluation </a:t>
              </a:r>
              <a:endParaRPr kumimoji="0" lang="fi-FI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</a:rPr>
                <a:t>-</a:t>
              </a: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Scientific (and Artistic) Advisory Boards (S(A)AB)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 reviews</a:t>
              </a:r>
              <a:endParaRPr kumimoji="0" lang="fi-FI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5" name="TextBox 4"/>
            <p:cNvSpPr txBox="1">
              <a:spLocks noChangeArrowheads="1"/>
            </p:cNvSpPr>
            <p:nvPr/>
          </p:nvSpPr>
          <p:spPr bwMode="auto">
            <a:xfrm>
              <a:off x="5382813" y="817439"/>
              <a:ext cx="1431424" cy="1477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82296" tIns="41148" rIns="82296" bIns="41148" anchor="t">
              <a:spAutoFit/>
            </a:bodyPr>
            <a:lstStyle/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</a:rPr>
                <a:t>-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</a:rPr>
                <a:t>Research, Art &amp; Impact assessment (RAI)</a:t>
              </a: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-Employee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wellbeing survey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  <a:p>
              <a:pPr marL="0" marR="0" lvl="0" indent="0" algn="l" defTabSz="37033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</a:rPr>
                <a:t>-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Human Resources Strategy for Researchers (HRS4R)</a:t>
              </a:r>
            </a:p>
          </p:txBody>
        </p:sp>
        <p:sp>
          <p:nvSpPr>
            <p:cNvPr id="26" name="TextBox 4"/>
            <p:cNvSpPr txBox="1">
              <a:spLocks noChangeArrowheads="1"/>
            </p:cNvSpPr>
            <p:nvPr/>
          </p:nvSpPr>
          <p:spPr bwMode="auto">
            <a:xfrm>
              <a:off x="1832803" y="4352908"/>
              <a:ext cx="6180068" cy="10720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0" marR="0" lvl="0" indent="0" algn="l" defTabSz="4114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*University Review </a:t>
              </a: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includes: </a:t>
              </a:r>
            </a:p>
            <a:p>
              <a:pPr marL="154305" marR="0" lvl="0" indent="-154305" algn="l" defTabSz="4114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Quality management system, incl. long term evaluation </a:t>
              </a:r>
              <a:r>
                <a:rPr kumimoji="0" lang="en-US" sz="81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programme</a:t>
              </a: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, Aalto Handbook and Indicator Handbook</a:t>
              </a:r>
            </a:p>
            <a:p>
              <a:pPr marL="154305" marR="0" lvl="0" indent="-154305" algn="l" defTabSz="4114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Core activities; research &amp; art, impact &amp; innovation incl. infra, education incl. </a:t>
              </a:r>
              <a:r>
                <a:rPr kumimoji="0" lang="en-US" sz="81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programmes</a:t>
              </a: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 (every second year)</a:t>
              </a:r>
            </a:p>
            <a:p>
              <a:pPr marL="154305" marR="0" lvl="0" indent="-154305" algn="l" defTabSz="4114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Cross cutting approaches: sustainability, radical creativity, entrepreneurship</a:t>
              </a:r>
            </a:p>
            <a:p>
              <a:pPr marL="154305" marR="0" lvl="0" indent="-154305" algn="l" defTabSz="4114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Enablers (community &amp; people incl. diversity &amp; inclusiveness, services &amp; resources, infra &amp; campus)</a:t>
              </a:r>
            </a:p>
            <a:p>
              <a:pPr marL="154305" marR="0" lvl="0" indent="-154305" algn="l" defTabSz="4114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Risk assessment</a:t>
              </a:r>
            </a:p>
            <a:p>
              <a:pPr marL="154305" marR="0" lvl="0" indent="-154305" algn="l" defTabSz="4114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When relevant special themes as planned</a:t>
              </a:r>
              <a:endParaRPr kumimoji="0" lang="fi-FI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E888A1EB-E8F4-43A0-BE6C-CBB48EC6AB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18425" y="1398735"/>
              <a:ext cx="1160399" cy="7181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Teaching &amp; learning Evaluation Exercise (TEE)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8" name="TextBox 4">
              <a:extLst>
                <a:ext uri="{FF2B5EF4-FFF2-40B4-BE49-F238E27FC236}">
                  <a16:creationId xmlns:a16="http://schemas.microsoft.com/office/drawing/2014/main" id="{CA2FEDDB-D69D-455D-AC19-C31FFD00E3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25755" y="3206492"/>
              <a:ext cx="1160399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82296" tIns="41148" rIns="82296" bIns="41148" anchor="t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University Review*</a:t>
              </a: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+ strategy interim review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29" name="TextBox 4">
              <a:extLst>
                <a:ext uri="{FF2B5EF4-FFF2-40B4-BE49-F238E27FC236}">
                  <a16:creationId xmlns:a16="http://schemas.microsoft.com/office/drawing/2014/main" id="{3F85F959-62A4-40D2-B086-2CD6FB9F3F6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86154" y="3175236"/>
              <a:ext cx="1160399" cy="7181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University Review*</a:t>
              </a:r>
            </a:p>
            <a:p>
              <a:pPr marL="0" marR="0" lvl="0" indent="0" algn="l" defTabSz="370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+ </a:t>
              </a:r>
              <a:r>
                <a:rPr kumimoji="0" lang="en-GB" sz="9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Internationali-sation</a:t>
              </a: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 review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31" name="TextBox 4">
              <a:extLst>
                <a:ext uri="{FF2B5EF4-FFF2-40B4-BE49-F238E27FC236}">
                  <a16:creationId xmlns:a16="http://schemas.microsoft.com/office/drawing/2014/main" id="{B23F0CA0-21D1-49ED-B6B6-B93444E714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66095" y="1124738"/>
              <a:ext cx="1173696" cy="1149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Employee</a:t>
              </a: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+mn-cs"/>
                </a:rPr>
                <a:t>wellbeing survey</a:t>
              </a: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2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  <a:p>
              <a:pPr marL="0" marR="0" lvl="0" indent="0" algn="l" defTabSz="370332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Scientific (and Artistic) Advisory Boards (S(A)AB)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 reviews (tbc)</a:t>
              </a:r>
              <a:endParaRPr kumimoji="0" lang="en-GB" sz="72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</p:grp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385C19E5-D52A-480F-8347-D1E87067DED3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32" y="125417"/>
            <a:ext cx="8492897" cy="562856"/>
          </a:xfrm>
        </p:spPr>
        <p:txBody>
          <a:bodyPr/>
          <a:lstStyle/>
          <a:p>
            <a:r>
              <a:rPr lang="en-US"/>
              <a:t>Aalto University Evaluation </a:t>
            </a:r>
            <a:r>
              <a:rPr lang="en-US" err="1"/>
              <a:t>Programm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293967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/>
          <p:cNvSpPr txBox="1">
            <a:spLocks noChangeArrowheads="1"/>
          </p:cNvSpPr>
          <p:nvPr/>
        </p:nvSpPr>
        <p:spPr bwMode="auto">
          <a:xfrm>
            <a:off x="4147145" y="337461"/>
            <a:ext cx="2719581" cy="886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/>
          <a:p>
            <a:pPr marL="170879" indent="-170879" defTabSz="411480" fontAlgn="base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FF0000"/>
                </a:solidFill>
                <a:latin typeface="Arial"/>
                <a:ea typeface="ＭＳ Ｐゴシック" charset="0"/>
              </a:rPr>
              <a:t>January </a:t>
            </a:r>
            <a:endParaRPr lang="en-US" sz="1620">
              <a:solidFill>
                <a:prstClr val="black"/>
              </a:solidFill>
              <a:latin typeface="Arial" charset="0"/>
              <a:ea typeface="ＭＳ Ｐゴシック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 charset="0"/>
              </a:rPr>
              <a:t>10 Jan instructions to review preparations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12 Jan PMT (PMT spring agendas)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 charset="0"/>
              </a:rPr>
              <a:t>17 Jan Aalto TTC</a:t>
            </a:r>
            <a:endParaRPr lang="en-GB" sz="720">
              <a:solidFill>
                <a:srgbClr val="005EB8"/>
              </a:solidFill>
              <a:latin typeface="Arial"/>
              <a:ea typeface="ＭＳ Ｐゴシック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 charset="0"/>
              </a:rPr>
              <a:t>26 Jan PMT (SCI and ENG Deans topical)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0000"/>
                </a:solidFill>
                <a:latin typeface="Arial"/>
                <a:ea typeface="ＭＳ Ｐゴシック" charset="0"/>
              </a:rPr>
              <a:t>Annual statistics incl. MEC and other authorities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0000"/>
                </a:solidFill>
                <a:latin typeface="Arial"/>
                <a:ea typeface="ＭＳ Ｐゴシック" charset="0"/>
              </a:rPr>
              <a:t>Objective discussions</a:t>
            </a:r>
            <a:r>
              <a:rPr lang="en-GB" sz="720">
                <a:solidFill>
                  <a:prstClr val="black"/>
                </a:solidFill>
                <a:latin typeface="Arial"/>
                <a:ea typeface="ＭＳ Ｐゴシック" charset="0"/>
              </a:rPr>
              <a:t> </a:t>
            </a:r>
          </a:p>
        </p:txBody>
      </p:sp>
      <p:sp>
        <p:nvSpPr>
          <p:cNvPr id="77" name="TextBox 4"/>
          <p:cNvSpPr txBox="1">
            <a:spLocks noChangeArrowheads="1"/>
          </p:cNvSpPr>
          <p:nvPr/>
        </p:nvSpPr>
        <p:spPr bwMode="auto">
          <a:xfrm>
            <a:off x="5124686" y="3149517"/>
            <a:ext cx="259773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>
            <a:lvl1pPr marL="228600" indent="-228600"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05740" indent="-20574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April</a:t>
            </a:r>
            <a:endParaRPr lang="en-GB" sz="788">
              <a:solidFill>
                <a:srgbClr val="FF0000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4 Apr AA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13 Apr PMT (BIZ Deans topical) </a:t>
            </a:r>
            <a:endParaRPr lang="en-GB" sz="720">
              <a:solidFill>
                <a:srgbClr val="005EB8"/>
              </a:solidFill>
              <a:latin typeface="Arial"/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27 Apr PMT (CCA topical)</a:t>
            </a:r>
          </a:p>
        </p:txBody>
      </p:sp>
      <p:sp>
        <p:nvSpPr>
          <p:cNvPr id="79" name="TextBox 4"/>
          <p:cNvSpPr txBox="1">
            <a:spLocks noChangeArrowheads="1"/>
          </p:cNvSpPr>
          <p:nvPr/>
        </p:nvSpPr>
        <p:spPr bwMode="auto">
          <a:xfrm>
            <a:off x="1016961" y="3084499"/>
            <a:ext cx="1827068" cy="997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>
            <a:lvl1pPr marL="228600" indent="-228600"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05740" indent="-20574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0065BD"/>
                </a:solidFill>
                <a:latin typeface="Arial"/>
              </a:rPr>
              <a:t>September</a:t>
            </a:r>
            <a:endParaRPr lang="en-GB" sz="788">
              <a:solidFill>
                <a:prstClr val="black"/>
              </a:solidFill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</a:rPr>
              <a:t>1 Sep AMT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7 Sep PMT (SCI Deans topical)</a:t>
            </a:r>
            <a:endParaRPr lang="en-GB" sz="720">
              <a:solidFill>
                <a:srgbClr val="005EB8"/>
              </a:solidFill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</a:rPr>
              <a:t>12 Sep Aalto TTC 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C00000"/>
                </a:solidFill>
              </a:rPr>
              <a:t>13 Sep AUFB - strategic risk register, internal audit plan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70C0"/>
                </a:solidFill>
              </a:rPr>
              <a:t>28 Sep PMT </a:t>
            </a:r>
            <a:r>
              <a:rPr lang="en-GB" sz="720">
                <a:solidFill>
                  <a:srgbClr val="0070C0"/>
                </a:solidFill>
                <a:latin typeface="Arial"/>
              </a:rPr>
              <a:t>(RESG, LESG chair topical)</a:t>
            </a:r>
            <a:endParaRPr lang="en-GB" sz="720">
              <a:solidFill>
                <a:srgbClr val="0070C0"/>
              </a:solidFill>
            </a:endParaRPr>
          </a:p>
        </p:txBody>
      </p:sp>
      <p:sp>
        <p:nvSpPr>
          <p:cNvPr id="80" name="TextBox 4"/>
          <p:cNvSpPr txBox="1">
            <a:spLocks noChangeArrowheads="1"/>
          </p:cNvSpPr>
          <p:nvPr/>
        </p:nvSpPr>
        <p:spPr bwMode="auto">
          <a:xfrm>
            <a:off x="5159445" y="1178732"/>
            <a:ext cx="2528222" cy="895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43" indent="-171443" defTabSz="411480" fontAlgn="base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FF0000"/>
                </a:solidFill>
                <a:latin typeface="Arial"/>
                <a:ea typeface="ＭＳ Ｐゴシック" charset="0"/>
              </a:rPr>
              <a:t>February</a:t>
            </a:r>
            <a:endParaRPr lang="en-GB" sz="788">
              <a:solidFill>
                <a:srgbClr val="FF0000"/>
              </a:solidFill>
              <a:latin typeface="Arial"/>
              <a:ea typeface="ＭＳ Ｐゴシック" charset="0"/>
            </a:endParaRPr>
          </a:p>
          <a:p>
            <a:pPr marL="134536" indent="-134536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 charset="0"/>
              </a:rPr>
              <a:t>1-2 Feb PMT Development Days</a:t>
            </a:r>
          </a:p>
          <a:p>
            <a:pPr marL="134536" indent="-134536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 charset="0"/>
              </a:rPr>
              <a:t>7 Feb AAC</a:t>
            </a:r>
          </a:p>
          <a:p>
            <a:pPr marL="134536" indent="-134536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 charset="0"/>
              </a:rPr>
              <a:t>8 Feb Aalto TTC</a:t>
            </a:r>
          </a:p>
          <a:p>
            <a:pPr marL="134536" indent="-134536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 charset="0"/>
              </a:rPr>
              <a:t>16 Feb PMT (RESG and LESG chair topical)</a:t>
            </a:r>
          </a:p>
          <a:p>
            <a:pPr marL="134536" indent="-134536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 charset="0"/>
              </a:rPr>
              <a:t>Preparations for University Reviews </a:t>
            </a:r>
            <a:r>
              <a:rPr lang="en-GB" sz="720" i="1">
                <a:solidFill>
                  <a:prstClr val="black"/>
                </a:solidFill>
                <a:latin typeface="Arial"/>
                <a:ea typeface="ＭＳ Ｐゴシック" charset="0"/>
              </a:rPr>
              <a:t>(Schools, Services dl 10.2., SGs dl 28.2.) </a:t>
            </a:r>
          </a:p>
        </p:txBody>
      </p:sp>
      <p:sp>
        <p:nvSpPr>
          <p:cNvPr id="81" name="TextBox 4"/>
          <p:cNvSpPr txBox="1">
            <a:spLocks noChangeArrowheads="1"/>
          </p:cNvSpPr>
          <p:nvPr/>
        </p:nvSpPr>
        <p:spPr bwMode="auto">
          <a:xfrm>
            <a:off x="6193229" y="2031904"/>
            <a:ext cx="2528222" cy="1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/>
          <a:p>
            <a:pPr marL="170879" indent="-170879" defTabSz="411480" fontAlgn="base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FF0000"/>
                </a:solidFill>
                <a:latin typeface="Arial"/>
                <a:ea typeface="ＭＳ Ｐゴシック"/>
              </a:rPr>
              <a:t>March</a:t>
            </a:r>
            <a:endParaRPr lang="en-GB" sz="788">
              <a:solidFill>
                <a:srgbClr val="FF0000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</a:rPr>
              <a:t>2 Mar AMT</a:t>
            </a:r>
            <a:r>
              <a:rPr lang="en-GB" sz="720" b="1">
                <a:solidFill>
                  <a:prstClr val="black"/>
                </a:solidFill>
                <a:latin typeface="Arial"/>
                <a:ea typeface="ＭＳ Ｐゴシック"/>
              </a:rPr>
              <a:t>, University Review </a:t>
            </a: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</a:rPr>
              <a:t>(Strategy implementation follow-up) 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</a:rPr>
              <a:t>8 Mar Aalto TTC</a:t>
            </a:r>
            <a:endParaRPr lang="en-GB" sz="72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9 Mar PMT (ELEC and CHEM Deans topical)</a:t>
            </a:r>
            <a:endParaRPr lang="en-GB" sz="720">
              <a:solidFill>
                <a:srgbClr val="005EB8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C00000"/>
                </a:solidFill>
                <a:latin typeface="Arial"/>
                <a:ea typeface="ＭＳ Ｐゴシック"/>
              </a:rPr>
              <a:t>15 Mar AUFB - Annual report and indicator and funding model guidelines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70C0"/>
                </a:solidFill>
                <a:latin typeface="Arial"/>
                <a:ea typeface="ＭＳ Ｐゴシック"/>
              </a:rPr>
              <a:t>16 Mar PMT (Funding model 2024, AUFB brief)</a:t>
            </a:r>
            <a:endParaRPr lang="en-GB" sz="720">
              <a:solidFill>
                <a:srgbClr val="0070C0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</a:rPr>
              <a:t>17 Mar instructions for University Dialogue</a:t>
            </a:r>
            <a:r>
              <a:rPr lang="en-GB" sz="720" i="1">
                <a:solidFill>
                  <a:prstClr val="black"/>
                </a:solidFill>
                <a:latin typeface="Arial"/>
                <a:ea typeface="ＭＳ Ｐゴシック"/>
              </a:rPr>
              <a:t> (Schools, Services dl 24.4., SGs dl 3.5.)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 i="1">
                <a:solidFill>
                  <a:prstClr val="black"/>
                </a:solidFill>
                <a:latin typeface="Arial"/>
                <a:ea typeface="ＭＳ Ｐゴシック"/>
              </a:rPr>
              <a:t>29 Mar Aalto TTC</a:t>
            </a:r>
            <a:endParaRPr lang="en-GB" sz="720" i="1">
              <a:solidFill>
                <a:prstClr val="black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30 Mar PMT (ISG and ESG chairs topical)</a:t>
            </a:r>
            <a:endParaRPr lang="en-GB" sz="720">
              <a:solidFill>
                <a:srgbClr val="005EB8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endParaRPr lang="en-GB" sz="720">
              <a:solidFill>
                <a:srgbClr val="005EB8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82" name="TextBox 4"/>
          <p:cNvSpPr txBox="1">
            <a:spLocks noChangeArrowheads="1"/>
          </p:cNvSpPr>
          <p:nvPr/>
        </p:nvSpPr>
        <p:spPr bwMode="auto">
          <a:xfrm>
            <a:off x="5332878" y="3746111"/>
            <a:ext cx="3019289" cy="1340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>
            <a:lvl1pPr marL="228600" indent="-228600"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05740" indent="-20574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FFCD00"/>
                </a:solidFill>
                <a:latin typeface="Arial"/>
              </a:rPr>
              <a:t>May</a:t>
            </a:r>
            <a:endParaRPr lang="en-GB" sz="900">
              <a:solidFill>
                <a:srgbClr val="FFCD00"/>
              </a:solidFill>
              <a:latin typeface="Arial"/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US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3 May Aalto TT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US" sz="720">
                <a:solidFill>
                  <a:prstClr val="black"/>
                </a:solidFill>
              </a:rPr>
              <a:t>9 -10 May </a:t>
            </a:r>
            <a:r>
              <a:rPr lang="en-US" sz="720" b="1">
                <a:solidFill>
                  <a:prstClr val="black"/>
                </a:solidFill>
              </a:rPr>
              <a:t>University Dialogue </a:t>
            </a:r>
            <a:r>
              <a:rPr lang="en-US" sz="720">
                <a:solidFill>
                  <a:prstClr val="black"/>
                </a:solidFill>
              </a:rPr>
              <a:t>(Targets and plans)</a:t>
            </a:r>
            <a:endParaRPr lang="en-US" sz="720" b="1">
              <a:solidFill>
                <a:prstClr val="black"/>
              </a:solidFill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US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11 May PMT 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(ARTS Deans topical)</a:t>
            </a:r>
            <a:endParaRPr lang="en-US" sz="720">
              <a:solidFill>
                <a:prstClr val="black"/>
              </a:solidFill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US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15 May dl for updated dialogue materials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17 May PMT </a:t>
            </a: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(Resources, Summary of University Dialogue,) </a:t>
            </a:r>
            <a:endParaRPr lang="en-GB" sz="720">
              <a:solidFill>
                <a:prstClr val="black"/>
              </a:solidFill>
              <a:latin typeface="Arial"/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23 May AA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25 May AMT, AA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31 May TTC</a:t>
            </a:r>
            <a:endParaRPr lang="en-GB" sz="720">
              <a:solidFill>
                <a:prstClr val="black"/>
              </a:solidFill>
              <a:latin typeface="Arial"/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</a:rPr>
              <a:t>Financial forecast (T1)</a:t>
            </a:r>
          </a:p>
          <a:p>
            <a:pPr marL="0" indent="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defRPr/>
            </a:pPr>
            <a:endParaRPr lang="en-GB" sz="788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TextBox 4"/>
          <p:cNvSpPr txBox="1">
            <a:spLocks noChangeArrowheads="1"/>
          </p:cNvSpPr>
          <p:nvPr/>
        </p:nvSpPr>
        <p:spPr bwMode="auto">
          <a:xfrm>
            <a:off x="3521163" y="3932516"/>
            <a:ext cx="192515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/>
          <a:p>
            <a:pPr marL="170879" indent="-170879" defTabSz="411480" fontAlgn="base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FFCD00"/>
                </a:solidFill>
                <a:latin typeface="Arial"/>
                <a:ea typeface="ＭＳ Ｐゴシック"/>
              </a:rPr>
              <a:t>June</a:t>
            </a:r>
            <a:r>
              <a:rPr lang="en-GB" sz="900">
                <a:solidFill>
                  <a:srgbClr val="000000"/>
                </a:solidFill>
                <a:latin typeface="Arial"/>
                <a:ea typeface="ＭＳ Ｐゴシック"/>
              </a:rPr>
              <a:t> </a:t>
            </a:r>
            <a:endParaRPr lang="en-GB" sz="788">
              <a:solidFill>
                <a:srgbClr val="000000"/>
              </a:solidFill>
              <a:latin typeface="Arial"/>
              <a:ea typeface="ＭＳ Ｐゴシック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1 Jun PMT</a:t>
            </a:r>
            <a:r>
              <a:rPr lang="en-GB" sz="720">
                <a:solidFill>
                  <a:srgbClr val="0070C0"/>
                </a:solidFill>
                <a:latin typeface="Arial"/>
                <a:ea typeface="ＭＳ Ｐゴシック"/>
              </a:rPr>
              <a:t> (Aalto priorities, PMT </a:t>
            </a:r>
            <a:r>
              <a:rPr lang="fi-FI" sz="720" err="1">
                <a:solidFill>
                  <a:srgbClr val="0070C0"/>
                </a:solidFill>
                <a:latin typeface="Arial" panose="020B0604020202020204" pitchFamily="34" charset="0"/>
                <a:ea typeface="ＭＳ Ｐゴシック" charset="0"/>
              </a:rPr>
              <a:t>overseeing</a:t>
            </a:r>
            <a:r>
              <a:rPr lang="fi-FI" sz="720">
                <a:solidFill>
                  <a:srgbClr val="0070C0"/>
                </a:solidFill>
                <a:latin typeface="Arial" panose="020B0604020202020204" pitchFamily="34" charset="0"/>
                <a:ea typeface="ＭＳ Ｐゴシック" charset="0"/>
              </a:rPr>
              <a:t> </a:t>
            </a:r>
            <a:r>
              <a:rPr lang="fi-FI" sz="720" err="1">
                <a:solidFill>
                  <a:srgbClr val="0070C0"/>
                </a:solidFill>
                <a:latin typeface="Arial" panose="020B0604020202020204" pitchFamily="34" charset="0"/>
                <a:ea typeface="ＭＳ Ｐゴシック" charset="0"/>
              </a:rPr>
              <a:t>responsibilities</a:t>
            </a:r>
            <a:r>
              <a:rPr lang="en-GB" sz="720">
                <a:solidFill>
                  <a:srgbClr val="0070C0"/>
                </a:solidFill>
                <a:latin typeface="Arial"/>
                <a:ea typeface="ＭＳ Ｐゴシック"/>
              </a:rPr>
              <a:t>)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C00000"/>
                </a:solidFill>
                <a:latin typeface="Arial"/>
                <a:ea typeface="ＭＳ Ｐゴシック"/>
              </a:rPr>
              <a:t>7- 8 Jun AUFB - </a:t>
            </a:r>
            <a:r>
              <a:rPr lang="en-US" sz="720">
                <a:solidFill>
                  <a:srgbClr val="C00000"/>
                </a:solidFill>
                <a:latin typeface="Arial"/>
                <a:ea typeface="ＭＳ Ｐゴシック"/>
                <a:cs typeface="Arial"/>
              </a:rPr>
              <a:t>targets 2024 and joint plans 2025-27 and financial and personnel plans for 2024​ approval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</a:rPr>
              <a:t>14 Jun Aalto TTC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 </a:t>
            </a:r>
            <a:endParaRPr lang="en-GB" sz="720" b="1">
              <a:solidFill>
                <a:srgbClr val="C00000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15 Jun PMT (Approval of Our Plan 2023-2026, T1 review)</a:t>
            </a:r>
            <a:endParaRPr lang="en-GB" sz="720">
              <a:solidFill>
                <a:srgbClr val="005EB8"/>
              </a:solidFill>
              <a:latin typeface="Arial"/>
              <a:ea typeface="ＭＳ Ｐゴシック" charset="0"/>
            </a:endParaRPr>
          </a:p>
        </p:txBody>
      </p:sp>
      <p:sp>
        <p:nvSpPr>
          <p:cNvPr id="84" name="TextBox 4"/>
          <p:cNvSpPr txBox="1">
            <a:spLocks noChangeArrowheads="1"/>
          </p:cNvSpPr>
          <p:nvPr/>
        </p:nvSpPr>
        <p:spPr bwMode="auto">
          <a:xfrm>
            <a:off x="840328" y="1347502"/>
            <a:ext cx="2286701" cy="997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>
            <a:lvl1pPr marL="228600" indent="-228600"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05740" indent="-20574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0065BD"/>
                </a:solidFill>
                <a:latin typeface="Arial"/>
                <a:ea typeface="ＭＳ Ｐゴシック"/>
                <a:cs typeface="Arial"/>
              </a:rPr>
              <a:t>November</a:t>
            </a:r>
            <a:endParaRPr lang="en-GB" sz="788" b="1">
              <a:solidFill>
                <a:srgbClr val="0065BD"/>
              </a:solidFill>
              <a:latin typeface="Arial"/>
              <a:ea typeface="ＭＳ Ｐゴシック"/>
              <a:cs typeface="Arial"/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70C0"/>
                </a:solidFill>
                <a:latin typeface="Arial"/>
                <a:ea typeface="ＭＳ Ｐゴシック"/>
                <a:cs typeface="Arial"/>
              </a:rPr>
              <a:t>1- 2 Nov PMT Development days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8 Nov Aalto TT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9 Nov PMT (ISG, ESG chairs topical, T2 review)</a:t>
            </a:r>
            <a:endParaRPr lang="en-GB" sz="720">
              <a:solidFill>
                <a:srgbClr val="005EB8"/>
              </a:solidFill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21 Nov AA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23 Nov PMT (ELEC Deans topical) 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30 Nov AMT, </a:t>
            </a:r>
            <a:r>
              <a:rPr lang="en-GB" sz="720" b="1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University Preview</a:t>
            </a:r>
          </a:p>
          <a:p>
            <a:pPr marL="0" indent="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defRPr/>
            </a:pPr>
            <a:r>
              <a:rPr lang="en-GB" sz="720" b="1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     </a:t>
            </a:r>
            <a:r>
              <a:rPr lang="en-GB" sz="72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(Forethought of operating environment)</a:t>
            </a:r>
          </a:p>
        </p:txBody>
      </p:sp>
      <p:sp>
        <p:nvSpPr>
          <p:cNvPr id="85" name="TextBox 4"/>
          <p:cNvSpPr txBox="1">
            <a:spLocks noChangeArrowheads="1"/>
          </p:cNvSpPr>
          <p:nvPr/>
        </p:nvSpPr>
        <p:spPr bwMode="auto">
          <a:xfrm>
            <a:off x="1972413" y="3906632"/>
            <a:ext cx="1553456" cy="121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>
            <a:lvl1pPr marL="228600" indent="-228600"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05740" indent="-20574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FFCD00"/>
                </a:solidFill>
                <a:latin typeface="Arial"/>
                <a:ea typeface="ＭＳ Ｐゴシック"/>
                <a:cs typeface="ＭＳ Ｐゴシック" charset="0"/>
              </a:rPr>
              <a:t>August</a:t>
            </a:r>
            <a:endParaRPr lang="en-GB" sz="788" b="1">
              <a:solidFill>
                <a:srgbClr val="FFCD00"/>
              </a:solidFill>
              <a:latin typeface="Arial"/>
              <a:ea typeface="ＭＳ Ｐゴシック"/>
              <a:cs typeface="ＭＳ Ｐゴシック" charset="0"/>
            </a:endParaRP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15 Aug Aalto TT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16 -17 Aug PMT development days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17 Aug PMT (PMT autumn agendas, annual process feedback)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23 Aug TTC</a:t>
            </a:r>
          </a:p>
          <a:p>
            <a:pPr marL="134303" indent="-134303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31 Aug AMT </a:t>
            </a:r>
            <a:r>
              <a:rPr lang="en-GB" sz="720">
                <a:solidFill>
                  <a:prstClr val="white"/>
                </a:solidFill>
                <a:latin typeface="Arial"/>
                <a:ea typeface="ＭＳ Ｐゴシック"/>
                <a:cs typeface="Arial"/>
              </a:rPr>
              <a:t>)</a:t>
            </a:r>
          </a:p>
          <a:p>
            <a:pPr marL="0" indent="0" defTabSz="411480" eaLnBrk="1" fontAlgn="base" hangingPunct="1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defRPr/>
            </a:pPr>
            <a:endParaRPr lang="en-GB" sz="720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TextBox 4"/>
          <p:cNvSpPr txBox="1">
            <a:spLocks noChangeArrowheads="1"/>
          </p:cNvSpPr>
          <p:nvPr/>
        </p:nvSpPr>
        <p:spPr bwMode="auto">
          <a:xfrm>
            <a:off x="1279425" y="2317129"/>
            <a:ext cx="1632767" cy="775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/>
          <a:p>
            <a:pPr marL="170879" indent="-170879" defTabSz="411480" fontAlgn="base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00" b="1">
                <a:solidFill>
                  <a:srgbClr val="0065BD"/>
                </a:solidFill>
                <a:latin typeface="Arial"/>
                <a:ea typeface="ＭＳ Ｐゴシック" charset="0"/>
                <a:cs typeface="Arial" charset="0"/>
              </a:rPr>
              <a:t>October</a:t>
            </a:r>
            <a:endParaRPr lang="en-US" sz="788" b="1">
              <a:solidFill>
                <a:srgbClr val="0065BD"/>
              </a:solidFill>
              <a:latin typeface="Arial"/>
              <a:ea typeface="ＭＳ Ｐゴシック" charset="0"/>
              <a:cs typeface="Arial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US" sz="720">
                <a:solidFill>
                  <a:prstClr val="black"/>
                </a:solidFill>
                <a:latin typeface="Arial"/>
                <a:ea typeface="ＭＳ Ｐゴシック"/>
              </a:rPr>
              <a:t>4 Oct Aalto TTC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US" sz="720">
                <a:solidFill>
                  <a:srgbClr val="005EB8"/>
                </a:solidFill>
                <a:latin typeface="Arial"/>
                <a:ea typeface="ＭＳ Ｐゴシック"/>
              </a:rPr>
              <a:t>12 Oct PMT  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(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ENG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 Deans topical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)</a:t>
            </a:r>
            <a:endParaRPr lang="en-US" sz="720">
              <a:solidFill>
                <a:srgbClr val="005EB8"/>
              </a:solidFill>
              <a:latin typeface="Arial"/>
              <a:ea typeface="ＭＳ Ｐゴシック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fi-FI" sz="720">
                <a:solidFill>
                  <a:srgbClr val="0070C0"/>
                </a:solidFill>
                <a:latin typeface="Arial"/>
                <a:ea typeface="ＭＳ Ｐゴシック"/>
              </a:rPr>
              <a:t>26 </a:t>
            </a:r>
            <a:r>
              <a:rPr lang="fi-FI" sz="720" err="1">
                <a:solidFill>
                  <a:srgbClr val="0070C0"/>
                </a:solidFill>
                <a:latin typeface="Arial"/>
                <a:ea typeface="ＭＳ Ｐゴシック"/>
              </a:rPr>
              <a:t>Oct</a:t>
            </a:r>
            <a:r>
              <a:rPr lang="fi-FI" sz="720">
                <a:solidFill>
                  <a:srgbClr val="0070C0"/>
                </a:solidFill>
                <a:latin typeface="Arial"/>
                <a:ea typeface="ＭＳ Ｐゴシック"/>
              </a:rPr>
              <a:t> PMT 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</a:rPr>
              <a:t>(CCA topical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)</a:t>
            </a:r>
            <a:endParaRPr lang="fi-FI" sz="720">
              <a:solidFill>
                <a:srgbClr val="0070C0"/>
              </a:solidFill>
              <a:latin typeface="Arial"/>
              <a:ea typeface="ＭＳ Ｐゴシック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 charset="0"/>
                <a:cs typeface="Arial" charset="0"/>
              </a:rPr>
              <a:t>Financial forecast (T2)</a:t>
            </a:r>
          </a:p>
        </p:txBody>
      </p:sp>
      <p:sp>
        <p:nvSpPr>
          <p:cNvPr id="88" name="TextBox 4"/>
          <p:cNvSpPr txBox="1">
            <a:spLocks noChangeArrowheads="1"/>
          </p:cNvSpPr>
          <p:nvPr/>
        </p:nvSpPr>
        <p:spPr bwMode="auto">
          <a:xfrm>
            <a:off x="2366188" y="712852"/>
            <a:ext cx="1927529" cy="893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296" tIns="41148" rIns="82296" bIns="41148" anchor="t">
            <a:spAutoFit/>
          </a:bodyPr>
          <a:lstStyle/>
          <a:p>
            <a:pPr marL="170879" indent="-170879" defTabSz="411480" fontAlgn="base">
              <a:spcBef>
                <a:spcPct val="0"/>
              </a:spcBef>
              <a:spcAft>
                <a:spcPct val="0"/>
              </a:spcAft>
              <a:buClr>
                <a:srgbClr val="FFCD00"/>
              </a:buClr>
              <a:defRPr/>
            </a:pPr>
            <a:r>
              <a:rPr lang="en-GB" sz="945" b="1">
                <a:solidFill>
                  <a:srgbClr val="0065BD"/>
                </a:solidFill>
                <a:latin typeface="Arial"/>
                <a:ea typeface="ＭＳ Ｐゴシック" charset="0"/>
                <a:cs typeface="Arial" charset="0"/>
              </a:rPr>
              <a:t>December</a:t>
            </a:r>
            <a:endParaRPr lang="en-US" sz="810" b="1">
              <a:solidFill>
                <a:srgbClr val="0065BD"/>
              </a:solidFill>
              <a:latin typeface="Arial"/>
              <a:ea typeface="ＭＳ Ｐゴシック" charset="0"/>
              <a:cs typeface="Arial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5 Dec Aalto TTC</a:t>
            </a: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 charset="0"/>
                <a:ea typeface="ＭＳ Ｐゴシック" charset="0"/>
              </a:rPr>
              <a:t>7 Dec PMT </a:t>
            </a:r>
            <a:r>
              <a:rPr lang="en-GB" sz="720">
                <a:solidFill>
                  <a:srgbClr val="005EB8"/>
                </a:solidFill>
                <a:latin typeface="Arial"/>
                <a:ea typeface="ＭＳ Ｐゴシック" charset="0"/>
              </a:rPr>
              <a:t>(BIZ, ARTS Deans topical) </a:t>
            </a:r>
            <a:endParaRPr lang="en-GB" sz="720">
              <a:solidFill>
                <a:srgbClr val="005EB8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C00000"/>
                </a:solidFill>
                <a:latin typeface="Arial" charset="0"/>
                <a:ea typeface="ＭＳ Ｐゴシック" charset="0"/>
              </a:rPr>
              <a:t>13 Dec AUFB – Group LTP approval, Endowment strategy</a:t>
            </a:r>
            <a:endParaRPr lang="en-GB" sz="720">
              <a:solidFill>
                <a:srgbClr val="C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/>
                <a:ea typeface="ＭＳ Ｐゴシック"/>
                <a:cs typeface="Arial"/>
              </a:rPr>
              <a:t>21 Dec PMT (CHEM Deans topical)</a:t>
            </a:r>
            <a:endParaRPr lang="en-GB" sz="720">
              <a:solidFill>
                <a:srgbClr val="005EB8"/>
              </a:solidFill>
              <a:latin typeface="Arial" charset="0"/>
              <a:ea typeface="ＭＳ Ｐゴシック"/>
              <a:cs typeface="Arial"/>
            </a:endParaRPr>
          </a:p>
          <a:p>
            <a:pPr marL="134303" indent="-134303" defTabSz="41148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Arial" charset="0"/>
              <a:buChar char="•"/>
              <a:defRPr/>
            </a:pPr>
            <a:r>
              <a:rPr lang="en-GB" sz="720">
                <a:solidFill>
                  <a:srgbClr val="005EB8"/>
                </a:solidFill>
                <a:latin typeface="Arial" charset="0"/>
                <a:ea typeface="ＭＳ Ｐゴシック" charset="0"/>
              </a:rPr>
              <a:t>12</a:t>
            </a:r>
            <a:r>
              <a:rPr lang="en-GB" sz="720">
                <a:solidFill>
                  <a:prstClr val="black"/>
                </a:solidFill>
                <a:latin typeface="Arial" charset="0"/>
                <a:ea typeface="ＭＳ Ｐゴシック" charset="0"/>
              </a:rPr>
              <a:t> Dec Aalto TTC</a:t>
            </a:r>
            <a:endParaRPr lang="en-GB" sz="720" b="1">
              <a:solidFill>
                <a:prstClr val="black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57299" y="18680"/>
            <a:ext cx="7465917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i-FI" sz="2520" b="1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Annual</a:t>
            </a:r>
            <a:r>
              <a:rPr lang="fi-FI" sz="2520" b="1">
                <a:solidFill>
                  <a:prstClr val="black"/>
                </a:solidFill>
                <a:latin typeface="Arial" charset="0"/>
                <a:ea typeface="ＭＳ Ｐゴシック" charset="0"/>
              </a:rPr>
              <a:t> Clock 2023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i-FI" sz="1800" b="1">
                <a:solidFill>
                  <a:prstClr val="black"/>
                </a:solidFill>
                <a:latin typeface="Arial" charset="0"/>
                <a:ea typeface="ＭＳ Ｐゴシック" charset="0"/>
              </a:rPr>
              <a:t>Aalto Management </a:t>
            </a:r>
            <a:r>
              <a:rPr lang="fi-FI" sz="1800" b="1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Actions</a:t>
            </a:r>
            <a:endParaRPr lang="en-US" sz="1800" b="1">
              <a:solidFill>
                <a:prstClr val="black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78862E-7392-4C30-B0C5-37F7DC9201E7}"/>
              </a:ext>
            </a:extLst>
          </p:cNvPr>
          <p:cNvSpPr txBox="1"/>
          <p:nvPr/>
        </p:nvSpPr>
        <p:spPr>
          <a:xfrm>
            <a:off x="7084843" y="4605194"/>
            <a:ext cx="1508426" cy="4847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30">
                <a:solidFill>
                  <a:prstClr val="black"/>
                </a:solidFill>
                <a:latin typeface="Arial" charset="0"/>
                <a:ea typeface="ＭＳ Ｐゴシック" charset="0"/>
              </a:rPr>
              <a:t>AUFB, Aalto University Foundation Board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30">
                <a:solidFill>
                  <a:prstClr val="black"/>
                </a:solidFill>
                <a:latin typeface="Arial" charset="0"/>
                <a:ea typeface="ＭＳ Ｐゴシック" charset="0"/>
              </a:rPr>
              <a:t>AAC, Aalto Academic Committee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30">
                <a:solidFill>
                  <a:prstClr val="black"/>
                </a:solidFill>
                <a:latin typeface="Arial" charset="0"/>
                <a:ea typeface="ＭＳ Ｐゴシック" charset="0"/>
              </a:rPr>
              <a:t>Aalto TTC, Aalto Tenure Track Committee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30">
                <a:solidFill>
                  <a:prstClr val="black"/>
                </a:solidFill>
                <a:latin typeface="Arial" charset="0"/>
                <a:ea typeface="ＭＳ Ｐゴシック" charset="0"/>
              </a:rPr>
              <a:t>AMT, Aalto Management Team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30">
                <a:solidFill>
                  <a:prstClr val="black"/>
                </a:solidFill>
                <a:latin typeface="Arial" charset="0"/>
                <a:ea typeface="ＭＳ Ｐゴシック" charset="0"/>
              </a:rPr>
              <a:t>PMT, President’s Management Tea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5D4530-CD4A-444C-978A-9A09A4779ADB}"/>
              </a:ext>
            </a:extLst>
          </p:cNvPr>
          <p:cNvSpPr txBox="1"/>
          <p:nvPr/>
        </p:nvSpPr>
        <p:spPr>
          <a:xfrm>
            <a:off x="7392922" y="143562"/>
            <a:ext cx="1104470" cy="1938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60" b="1">
                <a:solidFill>
                  <a:srgbClr val="C00000"/>
                </a:solidFill>
                <a:latin typeface="Arial"/>
                <a:ea typeface="ＭＳ Ｐゴシック"/>
                <a:cs typeface="Arial"/>
              </a:rPr>
              <a:t>PMT 25.8.2022</a:t>
            </a:r>
            <a:endParaRPr lang="en-GB" sz="1260" b="1">
              <a:solidFill>
                <a:srgbClr val="C00000"/>
              </a:solidFill>
              <a:latin typeface="Arial" charset="0"/>
              <a:ea typeface="ＭＳ Ｐゴシック" charset="0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35BA3B-1674-4538-9F8D-29724BCCF6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6688" y="1542640"/>
            <a:ext cx="2272757" cy="227275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474839" y="2338983"/>
            <a:ext cx="109645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>
                <a:solidFill>
                  <a:srgbClr val="0065BD"/>
                </a:solidFill>
                <a:latin typeface="Cambria"/>
                <a:ea typeface="ＭＳ Ｐゴシック" charset="0"/>
                <a:cs typeface="Cambria"/>
              </a:rPr>
              <a:t>2023</a:t>
            </a:r>
            <a:endParaRPr lang="en-US" sz="2880" b="1">
              <a:solidFill>
                <a:srgbClr val="0065BD"/>
              </a:solidFill>
              <a:latin typeface="Cambria"/>
              <a:ea typeface="ＭＳ Ｐゴシック" charset="0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11266585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22AA7F-2607-4C37-B13D-F6AEC92E5C3B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447550" y="28438"/>
            <a:ext cx="8337675" cy="999574"/>
          </a:xfrm>
        </p:spPr>
        <p:txBody>
          <a:bodyPr lIns="0" tIns="0" rIns="0" bIns="0" anchor="ctr"/>
          <a:lstStyle/>
          <a:p>
            <a:r>
              <a:rPr lang="en-GB" sz="2800"/>
              <a:t>Key recommendations from FINEEC audit 2016</a:t>
            </a:r>
            <a:r>
              <a:rPr lang="en-GB" sz="3600"/>
              <a:t> 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4F4D14-76E6-48BF-AACA-1AD1A108FC65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447550" y="1116207"/>
            <a:ext cx="7474689" cy="3091793"/>
          </a:xfrm>
        </p:spPr>
        <p:txBody>
          <a:bodyPr lIns="0" tIns="0" rIns="0" bIns="0" anchor="t"/>
          <a:lstStyle/>
          <a:p>
            <a:pPr marL="228600" indent="-228600">
              <a:lnSpc>
                <a:spcPct val="150000"/>
              </a:lnSpc>
              <a:spcBef>
                <a:spcPts val="700"/>
              </a:spcBef>
              <a:buAutoNum type="arabicParenR"/>
            </a:pPr>
            <a:r>
              <a:rPr lang="en-US" sz="1400" b="0" dirty="0"/>
              <a:t>Establish</a:t>
            </a:r>
            <a:r>
              <a:rPr lang="en-US" sz="1400" b="0" i="0" dirty="0">
                <a:effectLst/>
              </a:rPr>
              <a:t> clear aims and core requirements for </a:t>
            </a:r>
            <a:r>
              <a:rPr lang="en-US" sz="1400" i="0" dirty="0">
                <a:effectLst/>
              </a:rPr>
              <a:t>academic advising</a:t>
            </a:r>
            <a:r>
              <a:rPr lang="en-US" sz="1400" b="0" i="0" dirty="0">
                <a:effectLst/>
              </a:rPr>
              <a:t> and </a:t>
            </a:r>
            <a:r>
              <a:rPr lang="en-US" sz="1400" i="0" dirty="0">
                <a:effectLst/>
              </a:rPr>
              <a:t>doctoral supervision</a:t>
            </a:r>
            <a:r>
              <a:rPr lang="en-US" sz="1400" b="0" i="0" dirty="0">
                <a:effectLst/>
              </a:rPr>
              <a:t> and scheduling opportunities for students to formally receive </a:t>
            </a:r>
            <a:r>
              <a:rPr lang="en-US" sz="1400" i="0" dirty="0">
                <a:effectLst/>
              </a:rPr>
              <a:t>feedback</a:t>
            </a:r>
            <a:r>
              <a:rPr lang="en-US" sz="1400" b="0" i="0" dirty="0">
                <a:effectLst/>
              </a:rPr>
              <a:t> and to discuss their plans and their performance.</a:t>
            </a:r>
            <a:r>
              <a:rPr lang="en-US" sz="1400" b="0" dirty="0"/>
              <a:t> Integrate</a:t>
            </a:r>
            <a:r>
              <a:rPr lang="en-US" sz="1400" b="0" i="0" dirty="0">
                <a:effectLst/>
              </a:rPr>
              <a:t> a formal process in the Annual Clock cycle for doctoral students to provide feedback on their wider learning </a:t>
            </a:r>
            <a:r>
              <a:rPr lang="en-US" sz="1400" b="0" dirty="0"/>
              <a:t>experience beyond coursework..</a:t>
            </a:r>
            <a:endParaRPr lang="en-US" sz="1400" dirty="0">
              <a:cs typeface="Arial"/>
            </a:endParaRPr>
          </a:p>
          <a:p>
            <a:pPr marL="228600" indent="-228600">
              <a:lnSpc>
                <a:spcPct val="150000"/>
              </a:lnSpc>
              <a:spcBef>
                <a:spcPts val="700"/>
              </a:spcBef>
              <a:buAutoNum type="arabicParenR"/>
            </a:pPr>
            <a:r>
              <a:rPr lang="en-US" sz="1400" b="0" dirty="0"/>
              <a:t>Promote</a:t>
            </a:r>
            <a:r>
              <a:rPr lang="en-US" sz="1400" b="0" i="0" dirty="0">
                <a:effectLst/>
              </a:rPr>
              <a:t> </a:t>
            </a:r>
            <a:r>
              <a:rPr lang="en-US" sz="1400" i="0" dirty="0" err="1">
                <a:effectLst/>
              </a:rPr>
              <a:t>multidisciplinarity</a:t>
            </a:r>
            <a:r>
              <a:rPr lang="en-US" sz="1400" b="0" i="0" dirty="0">
                <a:effectLst/>
              </a:rPr>
              <a:t> in research and teaching and enhancing </a:t>
            </a:r>
            <a:r>
              <a:rPr lang="en-US" sz="1400" i="0" dirty="0">
                <a:effectLst/>
              </a:rPr>
              <a:t>societal impact</a:t>
            </a:r>
            <a:r>
              <a:rPr lang="en-US" sz="1400" b="0" i="0" dirty="0">
                <a:effectLst/>
              </a:rPr>
              <a:t> are two strategic goals of the University. </a:t>
            </a:r>
            <a:r>
              <a:rPr lang="en-US" sz="1400" b="0" dirty="0"/>
              <a:t>Develop</a:t>
            </a:r>
            <a:r>
              <a:rPr lang="en-US" sz="1400" b="0" i="0" dirty="0">
                <a:effectLst/>
              </a:rPr>
              <a:t> </a:t>
            </a:r>
            <a:r>
              <a:rPr lang="en-US" sz="1400" i="0" dirty="0">
                <a:effectLst/>
              </a:rPr>
              <a:t>indicators</a:t>
            </a:r>
            <a:r>
              <a:rPr lang="en-US" sz="1400" b="0" i="0" dirty="0">
                <a:effectLst/>
              </a:rPr>
              <a:t> to monitor these two areas.</a:t>
            </a:r>
            <a:endParaRPr lang="en-GB" sz="1400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2026795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8A3BD2-863C-4C19-A6D3-FDCC8C6E1136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31" y="221470"/>
            <a:ext cx="8492897" cy="784830"/>
          </a:xfrm>
        </p:spPr>
        <p:txBody>
          <a:bodyPr lIns="0" tIns="0" rIns="0" bIns="0" anchor="t"/>
          <a:lstStyle/>
          <a:p>
            <a:r>
              <a:rPr lang="en-US" sz="2400">
                <a:cs typeface="Georgia"/>
              </a:rPr>
              <a:t>Key quality system developments and evaluations after FINEEC audit 2016</a:t>
            </a:r>
            <a:r>
              <a:rPr lang="en-US" sz="2400"/>
              <a:t>				</a:t>
            </a:r>
          </a:p>
        </p:txBody>
      </p:sp>
      <p:cxnSp>
        <p:nvCxnSpPr>
          <p:cNvPr id="8" name="Suora nuoliyhdysviiva 30">
            <a:extLst>
              <a:ext uri="{FF2B5EF4-FFF2-40B4-BE49-F238E27FC236}">
                <a16:creationId xmlns:a16="http://schemas.microsoft.com/office/drawing/2014/main" id="{3DE7E04B-5388-4819-84C2-4086AAE5F537}"/>
              </a:ext>
            </a:extLst>
          </p:cNvPr>
          <p:cNvCxnSpPr>
            <a:cxnSpLocks/>
          </p:cNvCxnSpPr>
          <p:nvPr/>
        </p:nvCxnSpPr>
        <p:spPr>
          <a:xfrm>
            <a:off x="358771" y="2975214"/>
            <a:ext cx="833274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DC196BE0-9392-46F0-BABA-25C7177024FF}"/>
              </a:ext>
            </a:extLst>
          </p:cNvPr>
          <p:cNvSpPr/>
          <p:nvPr/>
        </p:nvSpPr>
        <p:spPr>
          <a:xfrm>
            <a:off x="358771" y="3065898"/>
            <a:ext cx="795576" cy="136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049" rtlCol="0" anchor="ctr"/>
          <a:lstStyle/>
          <a:p>
            <a:pPr marL="0" marR="0" lvl="0" indent="0" algn="ctr" defTabSz="2999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1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+mn-cs"/>
              </a:rPr>
              <a:t>2016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F86E8C5E-5D79-4C31-8F22-33B308277DF6}"/>
              </a:ext>
            </a:extLst>
          </p:cNvPr>
          <p:cNvSpPr/>
          <p:nvPr/>
        </p:nvSpPr>
        <p:spPr>
          <a:xfrm>
            <a:off x="1614965" y="3065898"/>
            <a:ext cx="795576" cy="136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049" rtlCol="0" anchor="ctr"/>
          <a:lstStyle/>
          <a:p>
            <a:pPr marL="0" marR="0" lvl="0" indent="0" algn="ctr" defTabSz="2999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1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+mn-cs"/>
              </a:rPr>
              <a:t>2017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D0F2EB05-4FA3-468D-A375-D0D29E32D288}"/>
              </a:ext>
            </a:extLst>
          </p:cNvPr>
          <p:cNvSpPr/>
          <p:nvPr/>
        </p:nvSpPr>
        <p:spPr>
          <a:xfrm>
            <a:off x="2871159" y="3065898"/>
            <a:ext cx="795576" cy="136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049" rtlCol="0" anchor="ctr"/>
          <a:lstStyle/>
          <a:p>
            <a:pPr marL="0" marR="0" lvl="0" indent="0" algn="ctr" defTabSz="2999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1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+mn-cs"/>
              </a:rPr>
              <a:t>2018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D3658DB8-A933-4B7A-A74E-50ADF5A42686}"/>
              </a:ext>
            </a:extLst>
          </p:cNvPr>
          <p:cNvSpPr/>
          <p:nvPr/>
        </p:nvSpPr>
        <p:spPr>
          <a:xfrm>
            <a:off x="4127353" y="3065898"/>
            <a:ext cx="795576" cy="136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049" rtlCol="0" anchor="ctr"/>
          <a:lstStyle/>
          <a:p>
            <a:pPr marL="0" marR="0" lvl="0" indent="0" algn="ctr" defTabSz="2999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1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+mn-cs"/>
              </a:rPr>
              <a:t>2019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B40F3EA2-2B20-4496-81EF-A6CDB35660C9}"/>
              </a:ext>
            </a:extLst>
          </p:cNvPr>
          <p:cNvSpPr/>
          <p:nvPr/>
        </p:nvSpPr>
        <p:spPr>
          <a:xfrm>
            <a:off x="5383547" y="3065898"/>
            <a:ext cx="795576" cy="136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049" rtlCol="0" anchor="ctr"/>
          <a:lstStyle/>
          <a:p>
            <a:pPr marL="0" marR="0" lvl="0" indent="0" algn="ctr" defTabSz="2999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1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+mn-cs"/>
              </a:rPr>
              <a:t>2020</a:t>
            </a: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B92E68E3-DB54-4436-A5C2-11C6E85A662D}"/>
              </a:ext>
            </a:extLst>
          </p:cNvPr>
          <p:cNvSpPr/>
          <p:nvPr/>
        </p:nvSpPr>
        <p:spPr>
          <a:xfrm>
            <a:off x="6639741" y="3065898"/>
            <a:ext cx="795576" cy="136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049" rtlCol="0" anchor="ctr"/>
          <a:lstStyle/>
          <a:p>
            <a:pPr marL="0" marR="0" lvl="0" indent="0" algn="ctr" defTabSz="2999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1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+mn-cs"/>
              </a:rPr>
              <a:t>2021</a:t>
            </a:r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77F50C04-4B04-4F64-8A65-B3287F9DE8A0}"/>
              </a:ext>
            </a:extLst>
          </p:cNvPr>
          <p:cNvSpPr/>
          <p:nvPr/>
        </p:nvSpPr>
        <p:spPr>
          <a:xfrm>
            <a:off x="7895937" y="3065898"/>
            <a:ext cx="795576" cy="136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9049" rtlCol="0" anchor="ctr"/>
          <a:lstStyle/>
          <a:p>
            <a:pPr marL="0" marR="0" lvl="0" indent="0" algn="ctr" defTabSz="2999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1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  <a:cs typeface="+mn-cs"/>
              </a:rPr>
              <a:t>202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D2ED42-F17F-4962-BFF5-C840EE96421A}"/>
              </a:ext>
            </a:extLst>
          </p:cNvPr>
          <p:cNvSpPr txBox="1"/>
          <p:nvPr/>
        </p:nvSpPr>
        <p:spPr>
          <a:xfrm>
            <a:off x="2361887" y="1673809"/>
            <a:ext cx="2025921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c and resource planning joined in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University Dialogue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a timespan for 1+3 year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edback collection from annual processes started to ensure continuous development and feasible workload.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6758F6-225A-4ADF-8B1D-BAC291897848}"/>
              </a:ext>
            </a:extLst>
          </p:cNvPr>
          <p:cNvSpPr txBox="1"/>
          <p:nvPr/>
        </p:nvSpPr>
        <p:spPr>
          <a:xfrm>
            <a:off x="292331" y="3308322"/>
            <a:ext cx="1120259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C0C0C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FINEEC Audi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ientific and artistic advisory board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S(A)AB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etings</a:t>
            </a: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98ECA58-6AB1-4DDC-80DC-46CBAC0E18D9}"/>
              </a:ext>
            </a:extLst>
          </p:cNvPr>
          <p:cNvSpPr txBox="1"/>
          <p:nvPr/>
        </p:nvSpPr>
        <p:spPr>
          <a:xfrm>
            <a:off x="7968214" y="3308322"/>
            <a:ext cx="1079788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aration for FINEEC audit 2022 integrated to annual processes 2022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44187ED-6F15-43E2-86F2-6CAAB48426A4}"/>
              </a:ext>
            </a:extLst>
          </p:cNvPr>
          <p:cNvSpPr txBox="1"/>
          <p:nvPr/>
        </p:nvSpPr>
        <p:spPr>
          <a:xfrm>
            <a:off x="4127353" y="3308322"/>
            <a:ext cx="1119742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d-term review of audit 2016 recommendation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3B0673A-E7A5-4236-B7DD-15E8E73D93FB}"/>
              </a:ext>
            </a:extLst>
          </p:cNvPr>
          <p:cNvSpPr txBox="1"/>
          <p:nvPr/>
        </p:nvSpPr>
        <p:spPr>
          <a:xfrm>
            <a:off x="5395903" y="3308322"/>
            <a:ext cx="1243837" cy="10618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ucation evaluation (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TEE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recommendations taken into account in educational 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amme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rtfolio renewal. 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710577-7DD4-42F1-86D6-E798255FBFF0}"/>
              </a:ext>
            </a:extLst>
          </p:cNvPr>
          <p:cNvSpPr txBox="1"/>
          <p:nvPr/>
        </p:nvSpPr>
        <p:spPr>
          <a:xfrm>
            <a:off x="5628952" y="976905"/>
            <a:ext cx="2577596" cy="18928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strategic and resource plans combined into one document (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ur plan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University Preview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an operative environment analysis, integrated to the annual clock.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PIs revised according to the new strategy and living strategy dashboard open for all.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dated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governance structure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joint activities and community engagement to support the new strategy.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22E1C6-DCED-4C3B-A82A-E7E5E06AED09}"/>
              </a:ext>
            </a:extLst>
          </p:cNvPr>
          <p:cNvSpPr txBox="1"/>
          <p:nvPr/>
        </p:nvSpPr>
        <p:spPr>
          <a:xfrm>
            <a:off x="2681142" y="3308322"/>
            <a:ext cx="1446211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arch, art and impact evaluation (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RAI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 recommendations taken further in strategic planning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31B5577-FCEA-4A8C-8056-E92587DFCC9B}"/>
              </a:ext>
            </a:extLst>
          </p:cNvPr>
          <p:cNvSpPr txBox="1"/>
          <p:nvPr/>
        </p:nvSpPr>
        <p:spPr>
          <a:xfrm>
            <a:off x="6712017" y="3308322"/>
            <a:ext cx="1183920" cy="161582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ientific and artistic advisory board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S(A)AB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E6E6E6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etings. Focus on school and department strategic plans and RAI 2018 recommendation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891B6EE-6A3F-4712-94D3-D1FD5B68C7F9}"/>
              </a:ext>
            </a:extLst>
          </p:cNvPr>
          <p:cNvSpPr txBox="1"/>
          <p:nvPr/>
        </p:nvSpPr>
        <p:spPr>
          <a:xfrm>
            <a:off x="4387809" y="1547204"/>
            <a:ext cx="1252834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y preparation and launching </a:t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Living strategy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CD00"/>
              </a:highlight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CD00"/>
                </a:highlight>
                <a:uLnTx/>
                <a:uFillTx/>
                <a:latin typeface="Arial" panose="020B0604020202020204"/>
                <a:ea typeface="+mn-ea"/>
                <a:cs typeface="Arial"/>
              </a:rPr>
              <a:t>Aalto Handbook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 </a:t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</a:b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launched as online version in aalto.fi</a:t>
            </a: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5417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2152696-DB20-4E59-A5FD-262ECF68A7D6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30" y="28438"/>
            <a:ext cx="8492897" cy="554912"/>
          </a:xfrm>
        </p:spPr>
        <p:txBody>
          <a:bodyPr lIns="0" tIns="0" rIns="0" bIns="0" anchor="t"/>
          <a:lstStyle/>
          <a:p>
            <a:r>
              <a:rPr lang="fi-FI" sz="3200"/>
              <a:t>FINEEC </a:t>
            </a:r>
            <a:r>
              <a:rPr lang="fi-FI" sz="3200" err="1"/>
              <a:t>audit</a:t>
            </a:r>
            <a:r>
              <a:rPr lang="fi-FI" sz="3200"/>
              <a:t> </a:t>
            </a:r>
            <a:r>
              <a:rPr lang="fi-FI" sz="3200" err="1"/>
              <a:t>model</a:t>
            </a:r>
            <a:r>
              <a:rPr lang="fi-FI" sz="3200"/>
              <a:t> 2019</a:t>
            </a:r>
            <a:r>
              <a:rPr lang="fi-FI" sz="3200" b="0">
                <a:ea typeface="+mn-lt"/>
                <a:cs typeface="+mn-lt"/>
              </a:rPr>
              <a:t>–</a:t>
            </a:r>
            <a:r>
              <a:rPr lang="fi-FI" sz="3200"/>
              <a:t>202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0B1BFF-73F1-4BE3-99EB-D386AA5BAFE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292330" y="723526"/>
            <a:ext cx="5670320" cy="3774133"/>
          </a:xfrm>
        </p:spPr>
        <p:txBody>
          <a:bodyPr lIns="0" tIns="0" rIns="0" bIns="0" anchor="t"/>
          <a:lstStyle/>
          <a:p>
            <a:r>
              <a:rPr lang="en-US" sz="1200"/>
              <a:t>I  University creates competence </a:t>
            </a:r>
            <a:endParaRPr lang="en-US" sz="1200">
              <a:cs typeface="Arial"/>
            </a:endParaRPr>
          </a:p>
          <a:p>
            <a:pPr marL="88900"/>
            <a:r>
              <a:rPr lang="en-US" sz="1200" b="0"/>
              <a:t>▪ The planning of education </a:t>
            </a:r>
            <a:br>
              <a:rPr lang="en-US" sz="1200" b="0"/>
            </a:br>
            <a:r>
              <a:rPr lang="en-US" sz="1200" b="0"/>
              <a:t>▪ The implementation of education</a:t>
            </a:r>
            <a:br>
              <a:rPr lang="en-US" sz="1200" b="0"/>
            </a:br>
            <a:r>
              <a:rPr lang="en-US" sz="1200" b="0"/>
              <a:t>▪ The enhancement of education </a:t>
            </a:r>
            <a:br>
              <a:rPr lang="en-US" sz="1200" b="0"/>
            </a:br>
            <a:r>
              <a:rPr lang="en-US" sz="1200" b="0"/>
              <a:t>▪ Example(s) of successful development activities</a:t>
            </a:r>
            <a:endParaRPr lang="en-US" sz="1200" b="0">
              <a:cs typeface="Arial"/>
            </a:endParaRPr>
          </a:p>
          <a:p>
            <a:r>
              <a:rPr lang="en-US" sz="1200"/>
              <a:t>II  University promotes impact and renewal </a:t>
            </a:r>
            <a:endParaRPr lang="en-US" sz="1200">
              <a:cs typeface="Arial"/>
            </a:endParaRPr>
          </a:p>
          <a:p>
            <a:pPr marL="88900"/>
            <a:r>
              <a:rPr lang="en-US" sz="1200" b="0"/>
              <a:t>▪ Managing societal engagement and impact</a:t>
            </a:r>
            <a:br>
              <a:rPr lang="en-US" sz="1200" b="0"/>
            </a:br>
            <a:r>
              <a:rPr lang="en-US" sz="1200" b="0"/>
              <a:t>▪ Research, development and innovation activities and artistic activities with impact</a:t>
            </a:r>
            <a:br>
              <a:rPr lang="en-US" sz="1200" b="0"/>
            </a:br>
            <a:r>
              <a:rPr lang="en-US" sz="1200" b="0"/>
              <a:t>▪ Promoting renewal through the </a:t>
            </a:r>
            <a:r>
              <a:rPr lang="en-US" sz="1200" b="0" err="1"/>
              <a:t>organisational</a:t>
            </a:r>
            <a:r>
              <a:rPr lang="en-US" sz="1200" b="0"/>
              <a:t> culture</a:t>
            </a:r>
            <a:br>
              <a:rPr lang="en-US" sz="1200" b="0"/>
            </a:br>
            <a:r>
              <a:rPr lang="en-US" sz="1200" b="0"/>
              <a:t>▪ Example(s) of successful development activities</a:t>
            </a:r>
            <a:endParaRPr lang="en-US" sz="1200" b="0">
              <a:cs typeface="Arial"/>
            </a:endParaRPr>
          </a:p>
          <a:p>
            <a:r>
              <a:rPr lang="en-US" sz="1200"/>
              <a:t>III  University enhances quality and well-being </a:t>
            </a:r>
            <a:endParaRPr lang="en-US" sz="1200">
              <a:cs typeface="Arial"/>
            </a:endParaRPr>
          </a:p>
          <a:p>
            <a:pPr marL="88900"/>
            <a:r>
              <a:rPr lang="en-US" sz="1200" b="0"/>
              <a:t>▪ Using the quality system in strategic management </a:t>
            </a:r>
            <a:br>
              <a:rPr lang="en-US" sz="1200" b="0"/>
            </a:br>
            <a:r>
              <a:rPr lang="en-US" sz="1200" b="0"/>
              <a:t>▪ Supporting the competence development and well-being of the staff</a:t>
            </a:r>
            <a:br>
              <a:rPr lang="en-US" sz="1200" b="0"/>
            </a:br>
            <a:r>
              <a:rPr lang="en-US" sz="1200" b="0"/>
              <a:t>▪ Functionality and development of the quality system </a:t>
            </a:r>
            <a:br>
              <a:rPr lang="en-US" sz="1200" b="0"/>
            </a:br>
            <a:r>
              <a:rPr lang="en-US" sz="1200" b="0"/>
              <a:t>▪ Example(s) of successful development activities</a:t>
            </a:r>
            <a:endParaRPr lang="en-US" sz="1200" b="0">
              <a:cs typeface="Arial"/>
            </a:endParaRPr>
          </a:p>
          <a:p>
            <a:r>
              <a:rPr lang="en-US" sz="1200"/>
              <a:t>IV  University as a learning </a:t>
            </a:r>
            <a:r>
              <a:rPr lang="en-US" sz="1200" err="1"/>
              <a:t>organisation</a:t>
            </a:r>
            <a:r>
              <a:rPr lang="en-US" sz="1200"/>
              <a:t> </a:t>
            </a:r>
            <a:r>
              <a:rPr lang="en-US" sz="1200">
                <a:solidFill>
                  <a:srgbClr val="005EB8"/>
                </a:solidFill>
              </a:rPr>
              <a:t>(</a:t>
            </a:r>
            <a:r>
              <a:rPr lang="en-US" sz="1200" err="1">
                <a:solidFill>
                  <a:srgbClr val="005EB8"/>
                </a:solidFill>
              </a:rPr>
              <a:t>Benchlearning</a:t>
            </a:r>
            <a:r>
              <a:rPr lang="en-US" sz="1200">
                <a:solidFill>
                  <a:srgbClr val="005EB8"/>
                </a:solidFill>
              </a:rPr>
              <a:t> case)</a:t>
            </a:r>
            <a:endParaRPr lang="en-US" sz="1200">
              <a:solidFill>
                <a:srgbClr val="005EB8"/>
              </a:solidFill>
              <a:cs typeface="Arial"/>
            </a:endParaRPr>
          </a:p>
          <a:p>
            <a:pPr marL="88900"/>
            <a:r>
              <a:rPr lang="en-US" sz="1200" b="0"/>
              <a:t>▪ Equality, Diversity and Inclusion (EDI) </a:t>
            </a:r>
            <a:endParaRPr lang="en-US" sz="1200" b="0">
              <a:cs typeface="Arial"/>
            </a:endParaRPr>
          </a:p>
          <a:p>
            <a:endParaRPr lang="fi-FI" sz="1200"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8C582CB-FA22-4662-AB9A-073922705213}"/>
              </a:ext>
            </a:extLst>
          </p:cNvPr>
          <p:cNvSpPr/>
          <p:nvPr/>
        </p:nvSpPr>
        <p:spPr>
          <a:xfrm>
            <a:off x="6183521" y="635046"/>
            <a:ext cx="2238346" cy="535836"/>
          </a:xfrm>
          <a:prstGeom prst="rect">
            <a:avLst/>
          </a:pr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70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72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+mn-cs"/>
              </a:rPr>
              <a:t>AUDIT MANUAL FOR HIGHER EDUCATION INSTUTUTIONS 2019-2024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8F8917-922A-4278-BCCF-32F26DF0CC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5359" y="1170882"/>
            <a:ext cx="2238346" cy="25547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4FDF5A2-A5B1-4116-8CC9-5DA8D511D5ED}"/>
              </a:ext>
            </a:extLst>
          </p:cNvPr>
          <p:cNvSpPr txBox="1"/>
          <p:nvPr/>
        </p:nvSpPr>
        <p:spPr>
          <a:xfrm>
            <a:off x="4904008" y="4261443"/>
            <a:ext cx="4121863" cy="7571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38100">
            <a:noFill/>
          </a:ln>
        </p:spPr>
        <p:txBody>
          <a:bodyPr wrap="square">
            <a:spAutoFit/>
          </a:bodyPr>
          <a:lstStyle/>
          <a:p>
            <a:pPr marL="88900" marR="0" lvl="0" indent="0" algn="l" defTabSz="4114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Evaluation scales: Excellent, Good, Insufficient.</a:t>
            </a:r>
          </a:p>
          <a:p>
            <a:pPr marL="88900" marR="0" lvl="0" indent="0" algn="l" defTabSz="4114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88900" marR="0" lvl="0" indent="0" algn="l" defTabSz="4114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In order for the HEI to pass the audit, the evaluation areas </a:t>
            </a:r>
          </a:p>
          <a:p>
            <a:pPr marL="88900" marR="0" lvl="0" indent="0" algn="l" defTabSz="4114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I–III should reach at least the level Good.</a:t>
            </a:r>
            <a:endParaRPr kumimoji="0" lang="fi-FI" sz="108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6453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2C2A569D-96F7-5B4E-A635-B22EDF8DB47A}"/>
              </a:ext>
            </a:extLst>
          </p:cNvPr>
          <p:cNvSpPr txBox="1">
            <a:spLocks/>
          </p:cNvSpPr>
          <p:nvPr/>
        </p:nvSpPr>
        <p:spPr>
          <a:xfrm>
            <a:off x="397406" y="2764386"/>
            <a:ext cx="494587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411480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440" i="1" kern="1200">
                <a:solidFill>
                  <a:schemeClr val="bg1"/>
                </a:solidFill>
                <a:latin typeface="Georgia"/>
                <a:ea typeface="ＭＳ Ｐゴシック" charset="0"/>
                <a:cs typeface="Georgia"/>
              </a:defRPr>
            </a:lvl1pPr>
            <a:lvl2pPr marL="41148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520" kern="1200">
                <a:solidFill>
                  <a:schemeClr val="tx1">
                    <a:tint val="75000"/>
                  </a:schemeClr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82296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6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23444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164592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05740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46888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88036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184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148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84AC8-C7A8-421B-9687-B3DB8825BEA8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97406" y="28438"/>
            <a:ext cx="8590477" cy="999574"/>
          </a:xfrm>
        </p:spPr>
        <p:txBody>
          <a:bodyPr lIns="0" tIns="0" rIns="0" bIns="0" anchor="ctr"/>
          <a:lstStyle/>
          <a:p>
            <a:r>
              <a:rPr lang="en-GB" sz="2800" dirty="0"/>
              <a:t>Area I)  Aalto creates competence – main aspects</a:t>
            </a:r>
            <a:endParaRPr lang="fi-FI" sz="2800" dirty="0"/>
          </a:p>
        </p:txBody>
      </p:sp>
      <p:graphicFrame>
        <p:nvGraphicFramePr>
          <p:cNvPr id="4" name="Sisällön paikkamerkki 16">
            <a:extLst>
              <a:ext uri="{FF2B5EF4-FFF2-40B4-BE49-F238E27FC236}">
                <a16:creationId xmlns:a16="http://schemas.microsoft.com/office/drawing/2014/main" id="{03E9D734-FD53-4EB8-B460-E8D328266504}"/>
              </a:ext>
            </a:extLst>
          </p:cNvPr>
          <p:cNvGraphicFramePr>
            <a:graphicFrameLocks/>
          </p:cNvGraphicFramePr>
          <p:nvPr/>
        </p:nvGraphicFramePr>
        <p:xfrm>
          <a:off x="548481" y="1170302"/>
          <a:ext cx="8047037" cy="3188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805544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2C2A569D-96F7-5B4E-A635-B22EDF8DB47A}"/>
              </a:ext>
            </a:extLst>
          </p:cNvPr>
          <p:cNvSpPr txBox="1">
            <a:spLocks/>
          </p:cNvSpPr>
          <p:nvPr/>
        </p:nvSpPr>
        <p:spPr>
          <a:xfrm>
            <a:off x="397406" y="2764386"/>
            <a:ext cx="494587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411480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440" i="1" kern="1200">
                <a:solidFill>
                  <a:schemeClr val="bg1"/>
                </a:solidFill>
                <a:latin typeface="Georgia"/>
                <a:ea typeface="ＭＳ Ｐゴシック" charset="0"/>
                <a:cs typeface="Georgia"/>
              </a:defRPr>
            </a:lvl1pPr>
            <a:lvl2pPr marL="41148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520" kern="1200">
                <a:solidFill>
                  <a:schemeClr val="tx1">
                    <a:tint val="75000"/>
                  </a:schemeClr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82296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6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23444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164592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05740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46888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88036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184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148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84AC8-C7A8-421B-9687-B3DB8825BEA8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97406" y="28438"/>
            <a:ext cx="8746594" cy="999574"/>
          </a:xfrm>
        </p:spPr>
        <p:txBody>
          <a:bodyPr lIns="0" tIns="0" rIns="0" bIns="0" anchor="ctr"/>
          <a:lstStyle/>
          <a:p>
            <a:r>
              <a:rPr lang="fi-FI" sz="2400" dirty="0">
                <a:solidFill>
                  <a:prstClr val="black"/>
                </a:solidFill>
              </a:rPr>
              <a:t>Area II)  Aalto </a:t>
            </a:r>
            <a:r>
              <a:rPr lang="fi-FI" sz="2400" dirty="0" err="1">
                <a:solidFill>
                  <a:prstClr val="black"/>
                </a:solidFill>
              </a:rPr>
              <a:t>promotes</a:t>
            </a:r>
            <a:r>
              <a:rPr lang="fi-FI" sz="2400" dirty="0">
                <a:solidFill>
                  <a:prstClr val="black"/>
                </a:solidFill>
              </a:rPr>
              <a:t> </a:t>
            </a:r>
            <a:r>
              <a:rPr lang="fi-FI" sz="2400" dirty="0" err="1">
                <a:solidFill>
                  <a:prstClr val="black"/>
                </a:solidFill>
              </a:rPr>
              <a:t>impact</a:t>
            </a:r>
            <a:r>
              <a:rPr lang="fi-FI" sz="2400" dirty="0">
                <a:solidFill>
                  <a:prstClr val="black"/>
                </a:solidFill>
              </a:rPr>
              <a:t> and </a:t>
            </a:r>
            <a:r>
              <a:rPr lang="fi-FI" sz="2400" dirty="0" err="1">
                <a:solidFill>
                  <a:prstClr val="black"/>
                </a:solidFill>
              </a:rPr>
              <a:t>renewal</a:t>
            </a:r>
            <a:r>
              <a:rPr lang="fi-FI" sz="2400" dirty="0">
                <a:solidFill>
                  <a:prstClr val="black"/>
                </a:solidFill>
              </a:rPr>
              <a:t> – main </a:t>
            </a:r>
            <a:r>
              <a:rPr lang="fi-FI" sz="2400" dirty="0" err="1">
                <a:solidFill>
                  <a:prstClr val="black"/>
                </a:solidFill>
              </a:rPr>
              <a:t>aspects</a:t>
            </a:r>
            <a:endParaRPr lang="fi-FI" sz="2400" dirty="0"/>
          </a:p>
        </p:txBody>
      </p:sp>
      <p:graphicFrame>
        <p:nvGraphicFramePr>
          <p:cNvPr id="4" name="Tekstiruutu 5">
            <a:extLst>
              <a:ext uri="{FF2B5EF4-FFF2-40B4-BE49-F238E27FC236}">
                <a16:creationId xmlns:a16="http://schemas.microsoft.com/office/drawing/2014/main" id="{D2A8676B-8B9B-41B0-9D6C-F154F7572B22}"/>
              </a:ext>
            </a:extLst>
          </p:cNvPr>
          <p:cNvGraphicFramePr/>
          <p:nvPr/>
        </p:nvGraphicFramePr>
        <p:xfrm>
          <a:off x="414338" y="1174595"/>
          <a:ext cx="8188324" cy="302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652000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2C2A569D-96F7-5B4E-A635-B22EDF8DB47A}"/>
              </a:ext>
            </a:extLst>
          </p:cNvPr>
          <p:cNvSpPr txBox="1">
            <a:spLocks/>
          </p:cNvSpPr>
          <p:nvPr/>
        </p:nvSpPr>
        <p:spPr>
          <a:xfrm>
            <a:off x="397406" y="2764386"/>
            <a:ext cx="494587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411480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440" i="1" kern="1200">
                <a:solidFill>
                  <a:schemeClr val="bg1"/>
                </a:solidFill>
                <a:latin typeface="Georgia"/>
                <a:ea typeface="ＭＳ Ｐゴシック" charset="0"/>
                <a:cs typeface="Georgia"/>
              </a:defRPr>
            </a:lvl1pPr>
            <a:lvl2pPr marL="41148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520" kern="1200">
                <a:solidFill>
                  <a:schemeClr val="tx1">
                    <a:tint val="75000"/>
                  </a:schemeClr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82296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6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23444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164592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05740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46888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88036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184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148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84AC8-C7A8-421B-9687-B3DB8825BEA8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477838" y="242764"/>
            <a:ext cx="9115428" cy="999574"/>
          </a:xfrm>
        </p:spPr>
        <p:txBody>
          <a:bodyPr lIns="0" tIns="0" rIns="0" bIns="0" anchor="ctr"/>
          <a:lstStyle/>
          <a:p>
            <a:r>
              <a:rPr lang="fi-FI" sz="2400" dirty="0"/>
              <a:t>Area III) Aalto </a:t>
            </a:r>
            <a:r>
              <a:rPr lang="fi-FI" sz="2400" dirty="0" err="1"/>
              <a:t>enhances</a:t>
            </a:r>
            <a:r>
              <a:rPr lang="fi-FI" sz="2400" dirty="0"/>
              <a:t> </a:t>
            </a:r>
            <a:r>
              <a:rPr lang="fi-FI" sz="2400" dirty="0" err="1"/>
              <a:t>quality</a:t>
            </a:r>
            <a:r>
              <a:rPr lang="fi-FI" sz="2400" dirty="0"/>
              <a:t> and </a:t>
            </a:r>
            <a:r>
              <a:rPr lang="fi-FI" sz="2400" dirty="0" err="1"/>
              <a:t>well-being</a:t>
            </a:r>
            <a:r>
              <a:rPr lang="fi-FI" sz="2400" dirty="0"/>
              <a:t> </a:t>
            </a:r>
            <a:r>
              <a:rPr lang="fi-FI" sz="2400" dirty="0">
                <a:solidFill>
                  <a:prstClr val="black"/>
                </a:solidFill>
              </a:rPr>
              <a:t>– </a:t>
            </a:r>
          </a:p>
          <a:p>
            <a:r>
              <a:rPr lang="fi-FI" sz="2400" dirty="0">
                <a:solidFill>
                  <a:prstClr val="black"/>
                </a:solidFill>
              </a:rPr>
              <a:t>main </a:t>
            </a:r>
            <a:r>
              <a:rPr lang="fi-FI" sz="2400" dirty="0" err="1">
                <a:solidFill>
                  <a:prstClr val="black"/>
                </a:solidFill>
              </a:rPr>
              <a:t>aspects</a:t>
            </a:r>
            <a:r>
              <a:rPr lang="fi-FI" sz="2400" dirty="0"/>
              <a:t> 	 		</a:t>
            </a:r>
          </a:p>
        </p:txBody>
      </p:sp>
      <p:graphicFrame>
        <p:nvGraphicFramePr>
          <p:cNvPr id="16" name="Tekstiruutu 5">
            <a:extLst>
              <a:ext uri="{FF2B5EF4-FFF2-40B4-BE49-F238E27FC236}">
                <a16:creationId xmlns:a16="http://schemas.microsoft.com/office/drawing/2014/main" id="{F0D28869-BB5F-46CE-B275-B46DFE4593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6375418"/>
              </p:ext>
            </p:extLst>
          </p:nvPr>
        </p:nvGraphicFramePr>
        <p:xfrm>
          <a:off x="477838" y="1272818"/>
          <a:ext cx="8188324" cy="2983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32701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B96BF5C-E0C0-4342-B230-6E012AA10E9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25551" y="238635"/>
            <a:ext cx="8492897" cy="999574"/>
          </a:xfrm>
        </p:spPr>
        <p:txBody>
          <a:bodyPr lIns="0" tIns="0" rIns="0" bIns="0" anchor="t"/>
          <a:lstStyle/>
          <a:p>
            <a:r>
              <a:rPr lang="en-US" sz="3200" dirty="0"/>
              <a:t>Quality system audit preparations in a nutshell</a:t>
            </a:r>
            <a:endParaRPr lang="fi-FI" sz="3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0321D9D-9D20-4E3F-8EC8-10A0469B791E}"/>
              </a:ext>
            </a:extLst>
          </p:cNvPr>
          <p:cNvSpPr/>
          <p:nvPr/>
        </p:nvSpPr>
        <p:spPr>
          <a:xfrm>
            <a:off x="6175521" y="1546302"/>
            <a:ext cx="1860791" cy="10696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41148" rIns="82296" bIns="41148"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f-evaluation report submitted 2.11.2022</a:t>
            </a:r>
            <a:endParaRPr kumimoji="0" lang="fi-FI" sz="108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B13F5A6-A14E-4140-BF6C-03B231EBE77E}"/>
              </a:ext>
            </a:extLst>
          </p:cNvPr>
          <p:cNvSpPr/>
          <p:nvPr/>
        </p:nvSpPr>
        <p:spPr>
          <a:xfrm>
            <a:off x="6175521" y="2794594"/>
            <a:ext cx="1860791" cy="1069626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41148" rIns="82296" bIns="41148"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Site visit of the audit 25.-26.1.2023</a:t>
            </a:r>
            <a:endParaRPr kumimoji="0" lang="fi-FI" sz="108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629C1E-4766-4CC5-8F47-5D4D8B1E63C6}"/>
              </a:ext>
            </a:extLst>
          </p:cNvPr>
          <p:cNvSpPr/>
          <p:nvPr/>
        </p:nvSpPr>
        <p:spPr>
          <a:xfrm>
            <a:off x="4157423" y="2071439"/>
            <a:ext cx="1839267" cy="12812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41148" rIns="82296" bIns="41148"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ools, services and joint areas conducted the audit self-evaluation  as part of our annual University Review</a:t>
            </a:r>
            <a:endParaRPr kumimoji="0" lang="en-US" sz="108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195335-B7CB-4F29-8B32-AA956136E189}"/>
              </a:ext>
            </a:extLst>
          </p:cNvPr>
          <p:cNvSpPr/>
          <p:nvPr/>
        </p:nvSpPr>
        <p:spPr>
          <a:xfrm>
            <a:off x="755768" y="1538388"/>
            <a:ext cx="3239329" cy="68780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41148" rIns="82296" bIns="41148"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f-evaluation of Aalto processes and quality management system</a:t>
            </a:r>
            <a:endParaRPr kumimoji="0" lang="en-US" sz="10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71E62D-56E3-4693-AB7C-9146E1499447}"/>
              </a:ext>
            </a:extLst>
          </p:cNvPr>
          <p:cNvSpPr/>
          <p:nvPr/>
        </p:nvSpPr>
        <p:spPr>
          <a:xfrm>
            <a:off x="779878" y="3018776"/>
            <a:ext cx="3213501" cy="87278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41148" rIns="82296" bIns="41148"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te visit of the audit carried out by an international audit team appointed by Finnish Education Evaluation </a:t>
            </a:r>
            <a:endParaRPr kumimoji="0" lang="en-US" sz="10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</a:endParaRPr>
          </a:p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ntre (FINEEC)</a:t>
            </a:r>
            <a:endParaRPr kumimoji="0" lang="en-US" sz="10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92BEB4-FF99-4D3B-937C-4C8950E8ADD9}"/>
              </a:ext>
            </a:extLst>
          </p:cNvPr>
          <p:cNvSpPr/>
          <p:nvPr/>
        </p:nvSpPr>
        <p:spPr>
          <a:xfrm>
            <a:off x="782398" y="2286148"/>
            <a:ext cx="3216213" cy="66733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41148" rIns="82296" bIns="41148" rtlCol="0" anchor="ctr"/>
          <a:lstStyle/>
          <a:p>
            <a:pPr marL="0" marR="0" lvl="0" indent="0" algn="ctr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learning</a:t>
            </a:r>
            <a:r>
              <a:rPr kumimoji="0" lang="en-US" sz="108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exercise with EPFL – case Equality, Diversity and Inclusion </a:t>
            </a:r>
            <a:endParaRPr kumimoji="0" lang="en-US" sz="10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3042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2C2A569D-96F7-5B4E-A635-B22EDF8DB47A}"/>
              </a:ext>
            </a:extLst>
          </p:cNvPr>
          <p:cNvSpPr txBox="1">
            <a:spLocks/>
          </p:cNvSpPr>
          <p:nvPr/>
        </p:nvSpPr>
        <p:spPr>
          <a:xfrm>
            <a:off x="397406" y="2764386"/>
            <a:ext cx="494587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411480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440" i="1" kern="1200">
                <a:solidFill>
                  <a:schemeClr val="bg1"/>
                </a:solidFill>
                <a:latin typeface="Georgia"/>
                <a:ea typeface="ＭＳ Ｐゴシック" charset="0"/>
                <a:cs typeface="Georgia"/>
              </a:defRPr>
            </a:lvl1pPr>
            <a:lvl2pPr marL="41148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520" kern="1200">
                <a:solidFill>
                  <a:schemeClr val="tx1">
                    <a:tint val="75000"/>
                  </a:schemeClr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82296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6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23444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1645920" indent="0" algn="ctr" defTabSz="41148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05740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46888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88036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1840" indent="0" algn="ctr" defTabSz="41148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148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84AC8-C7A8-421B-9687-B3DB8825BEA8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97406" y="28438"/>
            <a:ext cx="8590477" cy="999574"/>
          </a:xfrm>
        </p:spPr>
        <p:txBody>
          <a:bodyPr lIns="0" tIns="0" rIns="0" bIns="0" anchor="ctr"/>
          <a:lstStyle/>
          <a:p>
            <a:r>
              <a:rPr lang="en-US" sz="2800">
                <a:solidFill>
                  <a:schemeClr val="accent1"/>
                </a:solidFill>
                <a:ea typeface="ＭＳ Ｐゴシック"/>
              </a:rPr>
              <a:t>The </a:t>
            </a:r>
            <a:r>
              <a:rPr lang="en-US" sz="2800" err="1">
                <a:solidFill>
                  <a:schemeClr val="accent1"/>
                </a:solidFill>
                <a:ea typeface="ＭＳ Ｐゴシック"/>
              </a:rPr>
              <a:t>programme</a:t>
            </a:r>
            <a:r>
              <a:rPr lang="en-US" sz="2800">
                <a:solidFill>
                  <a:schemeClr val="accent1"/>
                </a:solidFill>
                <a:ea typeface="ＭＳ Ｐゴシック"/>
              </a:rPr>
              <a:t> of the site visit on 25–</a:t>
            </a:r>
            <a:r>
              <a:rPr lang="sv-FI" sz="2800">
                <a:solidFill>
                  <a:schemeClr val="accent1"/>
                </a:solidFill>
                <a:ea typeface="ＭＳ Ｐゴシック"/>
              </a:rPr>
              <a:t>26 </a:t>
            </a:r>
            <a:r>
              <a:rPr lang="en-US" sz="2800">
                <a:solidFill>
                  <a:schemeClr val="accent1"/>
                </a:solidFill>
                <a:ea typeface="ＭＳ Ｐゴシック"/>
              </a:rPr>
              <a:t>January</a:t>
            </a:r>
            <a:endParaRPr lang="fi-FI" sz="2800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FAEF4B31-476B-4140-9AB8-A6442A5FCF9C}"/>
              </a:ext>
            </a:extLst>
          </p:cNvPr>
          <p:cNvSpPr txBox="1">
            <a:spLocks/>
          </p:cNvSpPr>
          <p:nvPr/>
        </p:nvSpPr>
        <p:spPr>
          <a:xfrm>
            <a:off x="505759" y="919928"/>
            <a:ext cx="3643811" cy="3278458"/>
          </a:xfrm>
          <a:prstGeom prst="rect">
            <a:avLst/>
          </a:prstGeom>
          <a:ln w="12700">
            <a:solidFill>
              <a:srgbClr val="FFC000"/>
            </a:solidFill>
          </a:ln>
        </p:spPr>
        <p:txBody>
          <a:bodyPr vert="horz" lIns="0" tIns="0" rIns="0" bIns="0"/>
          <a:lstStyle>
            <a:lvl1pPr marL="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75" b="1" kern="1200">
                <a:solidFill>
                  <a:schemeClr val="tx1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marL="178200" indent="-15930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78DC4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2pPr>
            <a:lvl3pPr marL="345600" indent="-17280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1200" i="1" kern="12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defRPr>
            </a:lvl3pPr>
            <a:lvl4pPr marL="594000" indent="-14580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1050" kern="1200" baseline="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defRPr>
            </a:lvl4pPr>
            <a:lvl5pPr marL="81540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975" kern="1200" baseline="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 charset="0"/>
            </a:endParaRPr>
          </a:p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1575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Wednesday 25 January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Interview with the Rectorate and Provost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Interview with Deans of Schools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Education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Student workshops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 :Research, art and innovation activities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Societal engagement and impact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Interview with Board of the Aalto University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Interview with External stakeholders</a:t>
            </a:r>
            <a:endParaRPr kumimoji="0" lang="fi-FI" sz="135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  <p:sp>
        <p:nvSpPr>
          <p:cNvPr id="15" name="Sisällön paikkamerkki 3">
            <a:extLst>
              <a:ext uri="{FF2B5EF4-FFF2-40B4-BE49-F238E27FC236}">
                <a16:creationId xmlns:a16="http://schemas.microsoft.com/office/drawing/2014/main" id="{2FAD771B-6611-421D-8B6A-557308B2E2EC}"/>
              </a:ext>
            </a:extLst>
          </p:cNvPr>
          <p:cNvSpPr txBox="1">
            <a:spLocks/>
          </p:cNvSpPr>
          <p:nvPr/>
        </p:nvSpPr>
        <p:spPr>
          <a:xfrm>
            <a:off x="4453712" y="919928"/>
            <a:ext cx="4230029" cy="3758055"/>
          </a:xfrm>
          <a:prstGeom prst="rect">
            <a:avLst/>
          </a:prstGeom>
          <a:ln w="12700">
            <a:solidFill>
              <a:srgbClr val="FFC000"/>
            </a:solidFill>
          </a:ln>
        </p:spPr>
        <p:txBody>
          <a:bodyPr vert="horz" lIns="0" tIns="0" rIns="0" bIns="0"/>
          <a:lstStyle>
            <a:lvl1pPr marL="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75" b="1" kern="1200">
                <a:solidFill>
                  <a:schemeClr val="tx1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marL="178200" indent="-15930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78DC4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2pPr>
            <a:lvl3pPr marL="345600" indent="-17280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1200" i="1" kern="12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defRPr>
            </a:lvl3pPr>
            <a:lvl4pPr marL="594000" indent="-14580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1050" kern="1200" baseline="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defRPr>
            </a:lvl4pPr>
            <a:lvl5pPr marL="81540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‒"/>
              <a:defRPr sz="975" kern="1200" baseline="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fi-FI" sz="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 charset="0"/>
            </a:endParaRPr>
          </a:p>
          <a:p>
            <a:pPr marL="0" marR="0" lvl="0" indent="0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fi-FI" sz="1575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ursday</a:t>
            </a:r>
            <a:r>
              <a:rPr kumimoji="0" lang="fi-FI" sz="1575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 </a:t>
            </a:r>
            <a:r>
              <a:rPr kumimoji="0" lang="en-US" sz="1575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26 January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Quality management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Staff workshops: Development of research-based teaching and learning, 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lifewide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 learning and learning support services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Student union and student representatives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Doctoral students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Support services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Staff competence development and well-being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Thematic interview: Equality, Diversity and Inclusion (staff and students separately)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Final interview with the top management </a:t>
            </a:r>
          </a:p>
          <a:p>
            <a:pPr marL="257175" marR="0" lvl="0" indent="-1682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Preliminary feedback to the Aalto University </a:t>
            </a:r>
            <a:endParaRPr kumimoji="0" lang="fi-FI" sz="135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8668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erson painting a wall&#10;&#10;Description automatically generated">
            <a:extLst>
              <a:ext uri="{FF2B5EF4-FFF2-40B4-BE49-F238E27FC236}">
                <a16:creationId xmlns:a16="http://schemas.microsoft.com/office/drawing/2014/main" id="{853B5209-F0C1-474D-A301-ACC4C2A24DCF}"/>
              </a:ext>
            </a:extLst>
          </p:cNvPr>
          <p:cNvPicPr>
            <a:picLocks noGrp="1" noChangeAspect="1"/>
          </p:cNvPicPr>
          <p:nvPr>
            <p:ph type="pic" idx="11"/>
          </p:nvPr>
        </p:nvPicPr>
        <p:blipFill>
          <a:blip r:embed="rId2"/>
          <a:srcRect l="21262" r="21262"/>
          <a:stretch>
            <a:fillRect/>
          </a:stretch>
        </p:blipFill>
        <p:spPr>
          <a:xfrm>
            <a:off x="5091779" y="0"/>
            <a:ext cx="4052221" cy="51435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D08752-49E4-40FE-B82A-E098A8EF78FF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17073" y="473415"/>
            <a:ext cx="4774705" cy="916769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rpose of the audit site visit</a:t>
            </a:r>
            <a:endParaRPr kumimoji="0" lang="fi-FI" sz="2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get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 overall pictur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Aalto and how the quality of education, research and regional development is maintained and developed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ify and supplement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observations made based on the Aalto’s audit material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activ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vent that supports the development of the operations of the Aal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600" b="0"/>
          </a:p>
        </p:txBody>
      </p:sp>
    </p:spTree>
    <p:extLst>
      <p:ext uri="{BB962C8B-B14F-4D97-AF65-F5344CB8AC3E}">
        <p14:creationId xmlns:p14="http://schemas.microsoft.com/office/powerpoint/2010/main" val="2311654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6_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10.xml><?xml version="1.0" encoding="utf-8"?>
<a:theme xmlns:a="http://schemas.openxmlformats.org/drawingml/2006/main" name="2_AALTO_EN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11.xml><?xml version="1.0" encoding="utf-8"?>
<a:theme xmlns:a="http://schemas.openxmlformats.org/drawingml/2006/main" name="Aalto-yliopisto_2013">
  <a:themeElements>
    <a:clrScheme name="Aalto 2013: Tuned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00965E"/>
      </a:accent2>
      <a:accent3>
        <a:srgbClr val="005EB8"/>
      </a:accent3>
      <a:accent4>
        <a:srgbClr val="7D55C7"/>
      </a:accent4>
      <a:accent5>
        <a:srgbClr val="EF3340"/>
      </a:accent5>
      <a:accent6>
        <a:srgbClr val="FF671F"/>
      </a:accent6>
      <a:hlink>
        <a:srgbClr val="000000"/>
      </a:hlink>
      <a:folHlink>
        <a:srgbClr val="8C85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</a:theme>
</file>

<file path=ppt/theme/theme12.xml><?xml version="1.0" encoding="utf-8"?>
<a:theme xmlns:a="http://schemas.openxmlformats.org/drawingml/2006/main" name="2_Office-teema">
  <a:themeElements>
    <a:clrScheme name="Mukautettu 1">
      <a:dk1>
        <a:sysClr val="windowText" lastClr="000000"/>
      </a:dk1>
      <a:lt1>
        <a:sysClr val="window" lastClr="FFFFFF"/>
      </a:lt1>
      <a:dk2>
        <a:srgbClr val="005EB8"/>
      </a:dk2>
      <a:lt2>
        <a:srgbClr val="669ED4"/>
      </a:lt2>
      <a:accent1>
        <a:srgbClr val="0C0C0C"/>
      </a:accent1>
      <a:accent2>
        <a:srgbClr val="595959"/>
      </a:accent2>
      <a:accent3>
        <a:srgbClr val="A5A5A5"/>
      </a:accent3>
      <a:accent4>
        <a:srgbClr val="D8D8D8"/>
      </a:accent4>
      <a:accent5>
        <a:srgbClr val="F2F2F2"/>
      </a:accent5>
      <a:accent6>
        <a:srgbClr val="FFFFFF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Aalto_169_black.potx" id="{E317CB2F-2B06-4C29-BA0A-E1C053682C02}" vid="{FC0938FB-93C8-41A2-BD85-9FECC1749D3D}"/>
    </a:ext>
  </a:extLst>
</a:theme>
</file>

<file path=ppt/theme/theme1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4.xml><?xml version="1.0" encoding="utf-8"?>
<a:theme xmlns:a="http://schemas.openxmlformats.org/drawingml/2006/main" name="KARVI_FI_2015">
  <a:themeElements>
    <a:clrScheme name="Mukautettu 1">
      <a:dk1>
        <a:sysClr val="windowText" lastClr="000000"/>
      </a:dk1>
      <a:lt1>
        <a:srgbClr val="FFFFFF"/>
      </a:lt1>
      <a:dk2>
        <a:srgbClr val="28A7DA"/>
      </a:dk2>
      <a:lt2>
        <a:srgbClr val="958B81"/>
      </a:lt2>
      <a:accent1>
        <a:srgbClr val="0D93D2"/>
      </a:accent1>
      <a:accent2>
        <a:srgbClr val="C8DDF1"/>
      </a:accent2>
      <a:accent3>
        <a:srgbClr val="A7D0B3"/>
      </a:accent3>
      <a:accent4>
        <a:srgbClr val="DBEEE1"/>
      </a:accent4>
      <a:accent5>
        <a:srgbClr val="EDB354"/>
      </a:accent5>
      <a:accent6>
        <a:srgbClr val="FCE3C8"/>
      </a:accent6>
      <a:hlink>
        <a:srgbClr val="000000"/>
      </a:hlink>
      <a:folHlink>
        <a:srgbClr val="0D93D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Esitys1" id="{1A410B61-038F-4BCD-8949-4DE98A9FCB73}" vid="{30C4B16E-58CC-4296-B232-0BBC67B778F5}"/>
    </a:ext>
  </a:extLst>
</a:theme>
</file>

<file path=ppt/theme/theme15.xml><?xml version="1.0" encoding="utf-8"?>
<a:theme xmlns:a="http://schemas.openxmlformats.org/drawingml/2006/main" name="1_KARVI_FI_2015">
  <a:themeElements>
    <a:clrScheme name="Mukautettu 1">
      <a:dk1>
        <a:sysClr val="windowText" lastClr="000000"/>
      </a:dk1>
      <a:lt1>
        <a:srgbClr val="FFFFFF"/>
      </a:lt1>
      <a:dk2>
        <a:srgbClr val="28A7DA"/>
      </a:dk2>
      <a:lt2>
        <a:srgbClr val="958B81"/>
      </a:lt2>
      <a:accent1>
        <a:srgbClr val="0D93D2"/>
      </a:accent1>
      <a:accent2>
        <a:srgbClr val="C8DDF1"/>
      </a:accent2>
      <a:accent3>
        <a:srgbClr val="A7D0B3"/>
      </a:accent3>
      <a:accent4>
        <a:srgbClr val="DBEEE1"/>
      </a:accent4>
      <a:accent5>
        <a:srgbClr val="EDB354"/>
      </a:accent5>
      <a:accent6>
        <a:srgbClr val="FCE3C8"/>
      </a:accent6>
      <a:hlink>
        <a:srgbClr val="000000"/>
      </a:hlink>
      <a:folHlink>
        <a:srgbClr val="0D93D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Esitys1" id="{1A410B61-038F-4BCD-8949-4DE98A9FCB73}" vid="{30C4B16E-58CC-4296-B232-0BBC67B778F5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3.xml><?xml version="1.0" encoding="utf-8"?>
<a:theme xmlns:a="http://schemas.openxmlformats.org/drawingml/2006/main" name="14_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4.xml><?xml version="1.0" encoding="utf-8"?>
<a:theme xmlns:a="http://schemas.openxmlformats.org/drawingml/2006/main" name="1_AALTO_EN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5.xml><?xml version="1.0" encoding="utf-8"?>
<a:theme xmlns:a="http://schemas.openxmlformats.org/drawingml/2006/main" name="AALTO_EN_2014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6.xml><?xml version="1.0" encoding="utf-8"?>
<a:theme xmlns:a="http://schemas.openxmlformats.org/drawingml/2006/main" name="1_AALTO_EN_2014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7.xml><?xml version="1.0" encoding="utf-8"?>
<a:theme xmlns:a="http://schemas.openxmlformats.org/drawingml/2006/main" name="1_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8.xml><?xml version="1.0" encoding="utf-8"?>
<a:theme xmlns:a="http://schemas.openxmlformats.org/drawingml/2006/main" name="15_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9.xml><?xml version="1.0" encoding="utf-8"?>
<a:theme xmlns:a="http://schemas.openxmlformats.org/drawingml/2006/main" name="1_Office-teema">
  <a:themeElements>
    <a:clrScheme name="Mukautettu 1">
      <a:dk1>
        <a:sysClr val="windowText" lastClr="000000"/>
      </a:dk1>
      <a:lt1>
        <a:sysClr val="window" lastClr="FFFFFF"/>
      </a:lt1>
      <a:dk2>
        <a:srgbClr val="005EB8"/>
      </a:dk2>
      <a:lt2>
        <a:srgbClr val="669ED4"/>
      </a:lt2>
      <a:accent1>
        <a:srgbClr val="0C0C0C"/>
      </a:accent1>
      <a:accent2>
        <a:srgbClr val="595959"/>
      </a:accent2>
      <a:accent3>
        <a:srgbClr val="A5A5A5"/>
      </a:accent3>
      <a:accent4>
        <a:srgbClr val="D8D8D8"/>
      </a:accent4>
      <a:accent5>
        <a:srgbClr val="F2F2F2"/>
      </a:accent5>
      <a:accent6>
        <a:srgbClr val="FFFFFF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lto_169_black.potx" id="{E317CB2F-2B06-4C29-BA0A-E1C053682C02}" vid="{FC0938FB-93C8-41A2-BD85-9FECC1749D3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d11f679-506f-4db9-8153-f796d388170f" xsi:nil="true"/>
    <lcf76f155ced4ddcb4097134ff3c332f xmlns="2b24e64f-0418-42fa-b33b-badaa28faeef">
      <Terms xmlns="http://schemas.microsoft.com/office/infopath/2007/PartnerControls"/>
    </lcf76f155ced4ddcb4097134ff3c332f>
    <SharedWithUsers xmlns="9d11f679-506f-4db9-8153-f796d388170f">
      <UserInfo>
        <DisplayName>Abebe Rediet</DisplayName>
        <AccountId>353</AccountId>
        <AccountType/>
      </UserInfo>
      <UserInfo>
        <DisplayName>Eulenberger-Karvetti Kirsi</DisplayName>
        <AccountId>9</AccountId>
        <AccountType/>
      </UserInfo>
      <UserInfo>
        <DisplayName>Pönni Raili</DisplayName>
        <AccountId>13</AccountId>
        <AccountType/>
      </UserInfo>
      <UserInfo>
        <DisplayName>Ekholm Iina</DisplayName>
        <AccountId>10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10CEEAADDD994AA821A6D87B28BFD0" ma:contentTypeVersion="15" ma:contentTypeDescription="Create a new document." ma:contentTypeScope="" ma:versionID="cea51af1d33b9849494de30b9b62d42d">
  <xsd:schema xmlns:xsd="http://www.w3.org/2001/XMLSchema" xmlns:xs="http://www.w3.org/2001/XMLSchema" xmlns:p="http://schemas.microsoft.com/office/2006/metadata/properties" xmlns:ns2="2b24e64f-0418-42fa-b33b-badaa28faeef" xmlns:ns3="9d11f679-506f-4db9-8153-f796d388170f" targetNamespace="http://schemas.microsoft.com/office/2006/metadata/properties" ma:root="true" ma:fieldsID="cf6f557857ab5baf40914355ef5bbcb8" ns2:_="" ns3:_="">
    <xsd:import namespace="2b24e64f-0418-42fa-b33b-badaa28faeef"/>
    <xsd:import namespace="9d11f679-506f-4db9-8153-f796d38817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4e64f-0418-42fa-b33b-badaa28fae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2d61bb93-c830-477f-800c-34a01ab1e7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1f679-506f-4db9-8153-f796d388170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d1ff7043-3c8f-42ff-a10a-c879210e83c3}" ma:internalName="TaxCatchAll" ma:showField="CatchAllData" ma:web="9d11f679-506f-4db9-8153-f796d38817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F8F463-5A37-4F97-911A-6C9E0CE4C71A}">
  <ds:schemaRefs>
    <ds:schemaRef ds:uri="9d11f679-506f-4db9-8153-f796d388170f"/>
    <ds:schemaRef ds:uri="2b24e64f-0418-42fa-b33b-badaa28faeef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59F47A9-1037-4AEC-80F4-3B0516290AE9}">
  <ds:schemaRefs>
    <ds:schemaRef ds:uri="2b24e64f-0418-42fa-b33b-badaa28faeef"/>
    <ds:schemaRef ds:uri="9d11f679-506f-4db9-8153-f796d388170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B0268DC-F13F-4B53-B592-23E90B7D52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</TotalTime>
  <Words>2671</Words>
  <Application>Microsoft Office PowerPoint</Application>
  <PresentationFormat>On-screen Show (16:9)</PresentationFormat>
  <Paragraphs>412</Paragraphs>
  <Slides>2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55" baseType="lpstr">
      <vt:lpstr>Arial</vt:lpstr>
      <vt:lpstr>Arial</vt:lpstr>
      <vt:lpstr>Calibri</vt:lpstr>
      <vt:lpstr>Cambria</vt:lpstr>
      <vt:lpstr>Courier New</vt:lpstr>
      <vt:lpstr>Georgia</vt:lpstr>
      <vt:lpstr>Helvetica Neue</vt:lpstr>
      <vt:lpstr>Helvetica Neue Light</vt:lpstr>
      <vt:lpstr>Helvetica Neue Medium</vt:lpstr>
      <vt:lpstr>Lucida Grande</vt:lpstr>
      <vt:lpstr>Symbol</vt:lpstr>
      <vt:lpstr>Times New Roman</vt:lpstr>
      <vt:lpstr>Wingdings</vt:lpstr>
      <vt:lpstr>36_Aalto University</vt:lpstr>
      <vt:lpstr>Aalto University</vt:lpstr>
      <vt:lpstr>14_Aalto University</vt:lpstr>
      <vt:lpstr>1_AALTO_EN</vt:lpstr>
      <vt:lpstr>AALTO_EN_2014</vt:lpstr>
      <vt:lpstr>1_AALTO_EN_2014</vt:lpstr>
      <vt:lpstr>1_Aalto University</vt:lpstr>
      <vt:lpstr>15_Aalto University</vt:lpstr>
      <vt:lpstr>1_Office-teema</vt:lpstr>
      <vt:lpstr>2_AALTO_EN</vt:lpstr>
      <vt:lpstr>Aalto-yliopisto_2013</vt:lpstr>
      <vt:lpstr>2_Office-teema</vt:lpstr>
      <vt:lpstr>White</vt:lpstr>
      <vt:lpstr>KARVI_FI_2015</vt:lpstr>
      <vt:lpstr>1_KARVI_FI_201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Eulenberger-Karvetti Kirsi</cp:lastModifiedBy>
  <cp:revision>4</cp:revision>
  <dcterms:created xsi:type="dcterms:W3CDTF">2020-12-07T11:43:05Z</dcterms:created>
  <dcterms:modified xsi:type="dcterms:W3CDTF">2023-01-09T11:3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10CEEAADDD994AA821A6D87B28BFD0</vt:lpwstr>
  </property>
  <property fmtid="{D5CDD505-2E9C-101B-9397-08002B2CF9AE}" pid="3" name="MediaServiceImageTags">
    <vt:lpwstr/>
  </property>
</Properties>
</file>